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notesSlides/notesSlide10.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20.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128.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131.xml" ContentType="application/vnd.openxmlformats-officedocument.presentationml.tags+xml"/>
  <Override PartName="/ppt/tags/tag136.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20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215.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216.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217.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32.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220.xml" ContentType="application/vnd.openxmlformats-officedocument.presentationml.tags+xml"/>
  <Override PartName="/ppt/tags/tag208.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205.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221.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25.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26.xml" ContentType="application/vnd.openxmlformats-officedocument.presentationml.tags+xml"/>
  <Override PartName="/ppt/tags/tag129.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22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209.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223.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224.xml" ContentType="application/vnd.openxmlformats-officedocument.presentationml.tags+xml"/>
  <Override PartName="/ppt/tags/tag159.xml" ContentType="application/vnd.openxmlformats-officedocument.presentationml.tags+xml"/>
  <Override PartName="/ppt/tags/tag225.xml" ContentType="application/vnd.openxmlformats-officedocument.presentationml.tags+xml"/>
  <Override PartName="/ppt/tags/tag160.xml" ContentType="application/vnd.openxmlformats-officedocument.presentationml.tags+xml"/>
  <Override PartName="/ppt/tags/tag133.xml" ContentType="application/vnd.openxmlformats-officedocument.presentationml.tags+xml"/>
  <Override PartName="/ppt/tags/tag161.xml" ContentType="application/vnd.openxmlformats-officedocument.presentationml.tags+xml"/>
  <Override PartName="/ppt/tags/tag210.xml" ContentType="application/vnd.openxmlformats-officedocument.presentationml.tags+xml"/>
  <Override PartName="/ppt/tags/tag162.xml" ContentType="application/vnd.openxmlformats-officedocument.presentationml.tags+xml"/>
  <Override PartName="/ppt/tags/tag226.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227.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228.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83.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34.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203.xml" ContentType="application/vnd.openxmlformats-officedocument.presentationml.tags+xml"/>
  <Override PartName="/ppt/tags/tag174.xml" ContentType="application/vnd.openxmlformats-officedocument.presentationml.tags+xml"/>
  <Override PartName="/ppt/tags/tag229.xml" ContentType="application/vnd.openxmlformats-officedocument.presentationml.tags+xml"/>
  <Override PartName="/ppt/tags/tag175.xml" ContentType="application/vnd.openxmlformats-officedocument.presentationml.tags+xml"/>
  <Override PartName="/ppt/tags/tag230.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231.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35.xml" ContentType="application/vnd.openxmlformats-officedocument.presentationml.tags+xml"/>
  <Override PartName="/ppt/tags/tag211.xml" ContentType="application/vnd.openxmlformats-officedocument.presentationml.tags+xml"/>
  <Override PartName="/ppt/tags/tag232.xml" ContentType="application/vnd.openxmlformats-officedocument.presentationml.tags+xml"/>
  <Override PartName="/ppt/tags/tag180.xml" ContentType="application/vnd.openxmlformats-officedocument.presentationml.tags+xml"/>
  <Override PartName="/ppt/tags/tag130.xml" ContentType="application/vnd.openxmlformats-officedocument.presentationml.tags+xml"/>
  <Override PartName="/ppt/tags/tag181.xml" ContentType="application/vnd.openxmlformats-officedocument.presentationml.tags+xml"/>
  <Override PartName="/ppt/tags/tag233.xml" ContentType="application/vnd.openxmlformats-officedocument.presentationml.tags+xml"/>
  <Override PartName="/ppt/tags/tag204.xml" ContentType="application/vnd.openxmlformats-officedocument.presentationml.tags+xml"/>
  <Override PartName="/ppt/tags/tag212.xml" ContentType="application/vnd.openxmlformats-officedocument.presentationml.tags+xml"/>
  <Override PartName="/ppt/tags/tag234.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27.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92.xml" ContentType="application/vnd.openxmlformats-officedocument.presentationml.tags+xml"/>
  <Override PartName="/docProps/custom.xml" ContentType="application/vnd.openxmlformats-officedocument.custom-properties+xml"/>
  <Override PartName="/ppt/tags/tag193.xml" ContentType="application/vnd.openxmlformats-officedocument.presentationml.tags+xml"/>
  <Override PartName="/ppt/tags/tag194.xml" ContentType="application/vnd.openxmlformats-officedocument.presentationml.tags+xml"/>
  <Override PartName="/ppt/tags/tag124.xml" ContentType="application/vnd.openxmlformats-officedocument.presentationml.tags+xml"/>
  <Override PartName="/ppt/tags/tag139.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6"/>
  </p:notesMasterIdLst>
  <p:handoutMasterIdLst>
    <p:handoutMasterId r:id="rId27"/>
  </p:handoutMasterIdLst>
  <p:sldIdLst>
    <p:sldId id="275" r:id="rId2"/>
    <p:sldId id="2142533495" r:id="rId3"/>
    <p:sldId id="600" r:id="rId4"/>
    <p:sldId id="2142533494" r:id="rId5"/>
    <p:sldId id="2142533481" r:id="rId6"/>
    <p:sldId id="2142533474" r:id="rId7"/>
    <p:sldId id="2142533490" r:id="rId8"/>
    <p:sldId id="1632" r:id="rId9"/>
    <p:sldId id="2142533491" r:id="rId10"/>
    <p:sldId id="2142533487" r:id="rId11"/>
    <p:sldId id="1585" r:id="rId12"/>
    <p:sldId id="2142533485" r:id="rId13"/>
    <p:sldId id="2142533477" r:id="rId14"/>
    <p:sldId id="2142533478" r:id="rId15"/>
    <p:sldId id="2142533479" r:id="rId16"/>
    <p:sldId id="2142533488" r:id="rId17"/>
    <p:sldId id="2142533497" r:id="rId18"/>
    <p:sldId id="2142533496" r:id="rId19"/>
    <p:sldId id="2142533498" r:id="rId20"/>
    <p:sldId id="2142533499" r:id="rId21"/>
    <p:sldId id="284" r:id="rId22"/>
    <p:sldId id="2142533500" r:id="rId23"/>
    <p:sldId id="2142533492" r:id="rId24"/>
    <p:sldId id="278" r:id="rId25"/>
  </p:sldIdLst>
  <p:sldSz cx="12192000" cy="6858000"/>
  <p:notesSz cx="6950075" cy="9236075"/>
  <p:custShowLst>
    <p:custShow name="Format Guide Workshop" id="0">
      <p:sldLst/>
    </p:custShow>
  </p:custShow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161"/>
    <a:srgbClr val="FF4343"/>
    <a:srgbClr val="FF0000"/>
    <a:srgbClr val="FFFF00"/>
    <a:srgbClr val="DBD600"/>
    <a:srgbClr val="BFBF00"/>
    <a:srgbClr val="A7EFCD"/>
    <a:srgbClr val="7CE8B5"/>
    <a:srgbClr val="31DB89"/>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05" autoAdjust="0"/>
    <p:restoredTop sz="77193" autoAdjust="0"/>
  </p:normalViewPr>
  <p:slideViewPr>
    <p:cSldViewPr snapToGrid="0">
      <p:cViewPr>
        <p:scale>
          <a:sx n="67" d="100"/>
          <a:sy n="67" d="100"/>
        </p:scale>
        <p:origin x="308" y="4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90" d="100"/>
        <a:sy n="90" d="100"/>
      </p:scale>
      <p:origin x="0" y="-3596"/>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 Id="rId35" Type="http://schemas.openxmlformats.org/officeDocument/2006/relationships/customXml" Target="../customXml/item3.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7/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7/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sym typeface="+mn-lt"/>
              </a:rPr>
              <a:t>Notes view: </a:t>
            </a:r>
            <a:fld id="{128CEAFE-FA94-43E5-B0FF-D47E1CCDD1B4}" type="slidenum">
              <a:rPr lang="en-US" smtClean="0">
                <a:sym typeface="+mn-lt"/>
              </a:rPr>
              <a:pPr/>
              <a:t>1</a:t>
            </a:fld>
            <a:endParaRPr lang="en-US" dirty="0">
              <a:sym typeface="+mn-lt"/>
            </a:endParaRPr>
          </a:p>
        </p:txBody>
      </p:sp>
    </p:spTree>
    <p:extLst>
      <p:ext uri="{BB962C8B-B14F-4D97-AF65-F5344CB8AC3E}">
        <p14:creationId xmlns:p14="http://schemas.microsoft.com/office/powerpoint/2010/main" val="34210055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For trainers, use the script provided in the slide and complement with more examples to make it more engaging</a:t>
            </a:r>
          </a:p>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930798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For trainees, correct answer: C</a:t>
            </a:r>
          </a:p>
          <a:p>
            <a:r>
              <a:rPr lang="en-US" b="0" dirty="0"/>
              <a:t>Reasoning:</a:t>
            </a:r>
          </a:p>
          <a:p>
            <a:r>
              <a:rPr lang="en-US" b="0" dirty="0"/>
              <a:t>A. Business always want a simple and transparent model to trust model outputs and results</a:t>
            </a:r>
          </a:p>
          <a:p>
            <a:r>
              <a:rPr lang="en-US" b="0" dirty="0"/>
              <a:t>B. Web application is important for business but is secondary to the model design and output</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0" dirty="0"/>
              <a:t>C. Model accuracy is important from an implementation perspective, however just having a highly accurate model on training data or the randomly sampled test data is not enough. Model must stand the test of time, which we do by testing model on future unseen data (also called as out of time validation)</a:t>
            </a:r>
          </a:p>
          <a:p>
            <a:r>
              <a:rPr lang="en-US" b="0" dirty="0"/>
              <a:t> </a:t>
            </a: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520480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For trainees, correct answer: B</a:t>
            </a:r>
          </a:p>
          <a:p>
            <a:r>
              <a:rPr lang="en-US" b="0" dirty="0"/>
              <a:t>Reasoning:</a:t>
            </a:r>
          </a:p>
          <a:p>
            <a:r>
              <a:rPr lang="en-US" b="0" dirty="0"/>
              <a:t>A. This is important but is not the most critical. Generally, it is straight forward enough to choose few months of validation data unless there is lack of data points for the training set</a:t>
            </a:r>
          </a:p>
          <a:p>
            <a:r>
              <a:rPr lang="en-US" b="0" dirty="0"/>
              <a:t>B. For the business to act, it needs to have the future predictions in advance, and finding the right point of intervention is important. If we run the model for much into the future timeframe (that is much in advance for intended week/day) then the model accuracy will be low. If we have less lead time, then business team will not have enough time to act.</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0" dirty="0"/>
              <a:t>C. Although planning for compute power is important, it is not generally the most critical and can easily be planned in collaboration with the IT team. With cloud infrastructure it has become even more convenient to scale up.</a:t>
            </a: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2276033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For trainees, correct answer: D</a:t>
            </a:r>
          </a:p>
          <a:p>
            <a:r>
              <a:rPr lang="en-US" b="0" dirty="0"/>
              <a:t>Reasoning:</a:t>
            </a:r>
          </a:p>
          <a:p>
            <a:r>
              <a:rPr lang="en-US" b="0" dirty="0"/>
              <a:t>All of these are very much required for a smooth handover and a smooth model run for the future</a:t>
            </a:r>
          </a:p>
          <a:p>
            <a:r>
              <a:rPr lang="en-US" b="0" dirty="0"/>
              <a:t> </a:t>
            </a: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12816951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For trainers, use the script provided in the slide and complement with more examples to make it more engaging</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2674542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2547321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sym typeface="+mn-lt"/>
              </a:rPr>
              <a:t>Notes view: </a:t>
            </a:r>
            <a:fld id="{128CEAFE-FA94-43E5-B0FF-D47E1CCDD1B4}" type="slidenum">
              <a:rPr lang="en-US" smtClean="0">
                <a:sym typeface="+mn-lt"/>
              </a:rPr>
              <a:pPr/>
              <a:t>7</a:t>
            </a:fld>
            <a:endParaRPr lang="en-US" dirty="0">
              <a:sym typeface="+mn-lt"/>
            </a:endParaRPr>
          </a:p>
        </p:txBody>
      </p:sp>
    </p:spTree>
    <p:extLst>
      <p:ext uri="{BB962C8B-B14F-4D97-AF65-F5344CB8AC3E}">
        <p14:creationId xmlns:p14="http://schemas.microsoft.com/office/powerpoint/2010/main" val="724191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sym typeface="+mn-lt"/>
              </a:rPr>
              <a:t>Notes view: </a:t>
            </a:r>
            <a:fld id="{128CEAFE-FA94-43E5-B0FF-D47E1CCDD1B4}" type="slidenum">
              <a:rPr lang="en-US" smtClean="0">
                <a:sym typeface="+mn-lt"/>
              </a:rPr>
              <a:pPr/>
              <a:t>8</a:t>
            </a:fld>
            <a:endParaRPr lang="en-US" dirty="0">
              <a:sym typeface="+mn-lt"/>
            </a:endParaRPr>
          </a:p>
        </p:txBody>
      </p:sp>
    </p:spTree>
    <p:extLst>
      <p:ext uri="{BB962C8B-B14F-4D97-AF65-F5344CB8AC3E}">
        <p14:creationId xmlns:p14="http://schemas.microsoft.com/office/powerpoint/2010/main" val="566297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For trainees, correct answer: B</a:t>
            </a:r>
          </a:p>
          <a:p>
            <a:r>
              <a:rPr lang="en-US" b="0" dirty="0"/>
              <a:t>Reasoning:</a:t>
            </a:r>
          </a:p>
          <a:p>
            <a:r>
              <a:rPr lang="en-US" b="0" dirty="0"/>
              <a:t>B. Insufficient training data is an issue and oversampling technique, or other stats method need to be used to generate more data points</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370375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For trainees, correct answer: C</a:t>
            </a:r>
          </a:p>
          <a:p>
            <a:r>
              <a:rPr lang="en-US" b="0" dirty="0"/>
              <a:t>Reasoning:</a:t>
            </a:r>
          </a:p>
          <a:p>
            <a:r>
              <a:rPr lang="en-US" b="0" dirty="0"/>
              <a:t>A. Test data set is generally prepared well in advance during the model design phase. If test data is not available cross validation technique can be used to test data</a:t>
            </a:r>
          </a:p>
          <a:p>
            <a:r>
              <a:rPr lang="en-US" b="0" dirty="0"/>
              <a:t>B. Technical infrastructure is generally sourced during the model training phase which can also be used during the testing phase</a:t>
            </a:r>
          </a:p>
          <a:p>
            <a:r>
              <a:rPr lang="en-US" b="0" dirty="0"/>
              <a:t>C. Evaluating the right metric to access model accuracy is important. Sometimes the </a:t>
            </a:r>
            <a:r>
              <a:rPr lang="en-US" b="0" dirty="0" err="1"/>
              <a:t>KPIs</a:t>
            </a:r>
            <a:r>
              <a:rPr lang="en-US" b="0" dirty="0"/>
              <a:t> or metric defined during the problem formulation phase needs to be tweaked based on the model results</a:t>
            </a: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3757342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For trainees, correct answer: B</a:t>
            </a:r>
          </a:p>
          <a:p>
            <a:r>
              <a:rPr lang="en-US" b="0" dirty="0"/>
              <a:t>Reasoning:</a:t>
            </a:r>
          </a:p>
          <a:p>
            <a:r>
              <a:rPr lang="en-US" b="0" dirty="0"/>
              <a:t>A. Business always want a simple and transparent model to trust model outputs and results</a:t>
            </a:r>
          </a:p>
          <a:p>
            <a:r>
              <a:rPr lang="en-US" b="0" dirty="0"/>
              <a:t>B. Model transparency is very important – so try building white box model where possible or explain in great details about the model logic and data features used in the prediction</a:t>
            </a:r>
          </a:p>
          <a:p>
            <a:r>
              <a:rPr lang="en-US" b="0" dirty="0"/>
              <a:t>C. Web application is important for business but is secondary to the model design and output</a:t>
            </a: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376510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For trainees, correct answer: A</a:t>
            </a:r>
          </a:p>
          <a:p>
            <a:r>
              <a:rPr lang="en-US" b="0" dirty="0"/>
              <a:t>Reasoning:</a:t>
            </a:r>
          </a:p>
          <a:p>
            <a:r>
              <a:rPr lang="en-US" b="0" dirty="0"/>
              <a:t>A. Model deployment is very important for the model results to be used on day to day business activities and better adoption rate</a:t>
            </a:r>
          </a:p>
          <a:p>
            <a:r>
              <a:rPr lang="en-US" b="0" dirty="0"/>
              <a:t>B. High accuracy is good to have but not necessity. Models can be adopted even if they have reached the expected accuracy level</a:t>
            </a:r>
          </a:p>
          <a:p>
            <a:r>
              <a:rPr lang="en-US" b="0" dirty="0"/>
              <a:t>C. Complex models with no transparency is never preferred</a:t>
            </a: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413446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For trainees, correct answer: C</a:t>
            </a:r>
          </a:p>
          <a:p>
            <a:r>
              <a:rPr lang="en-US" b="0" dirty="0"/>
              <a:t>Reasoning: Model maintenance is an important part of any ML project. ML model accuracy is prone to decay over time  and needs refresh of data and recalibration of the model co-</a:t>
            </a:r>
            <a:r>
              <a:rPr lang="en-US" b="0" dirty="0" err="1"/>
              <a:t>effecients</a:t>
            </a:r>
            <a:r>
              <a:rPr lang="en-US" b="0" dirty="0"/>
              <a:t> </a:t>
            </a: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55301003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e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2.xml"/><Relationship Id="rId7" Type="http://schemas.openxmlformats.org/officeDocument/2006/relationships/image" Target="../media/image11.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5.xml"/><Relationship Id="rId7" Type="http://schemas.openxmlformats.org/officeDocument/2006/relationships/image" Target="../media/image11.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8.xml"/><Relationship Id="rId7" Type="http://schemas.openxmlformats.org/officeDocument/2006/relationships/image" Target="../media/image11.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emf"/><Relationship Id="rId5" Type="http://schemas.openxmlformats.org/officeDocument/2006/relationships/oleObject" Target="../embeddings/oleObject16.bin"/><Relationship Id="rId10" Type="http://schemas.openxmlformats.org/officeDocument/2006/relationships/image" Target="../media/image10.sv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1.xml"/><Relationship Id="rId7" Type="http://schemas.openxmlformats.org/officeDocument/2006/relationships/image" Target="../media/image11.jpe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4.xml"/><Relationship Id="rId7" Type="http://schemas.openxmlformats.org/officeDocument/2006/relationships/image" Target="../media/image11.jpe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7.xml"/><Relationship Id="rId7" Type="http://schemas.openxmlformats.org/officeDocument/2006/relationships/image" Target="../media/image11.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0.xml"/><Relationship Id="rId7" Type="http://schemas.openxmlformats.org/officeDocument/2006/relationships/image" Target="../media/image8.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20.bin"/><Relationship Id="rId11" Type="http://schemas.openxmlformats.org/officeDocument/2006/relationships/image" Target="../media/image10.svg"/><Relationship Id="rId5" Type="http://schemas.openxmlformats.org/officeDocument/2006/relationships/slideMaster" Target="../slideMasters/slideMaster1.xml"/><Relationship Id="rId10" Type="http://schemas.openxmlformats.org/officeDocument/2006/relationships/image" Target="../media/image9.png"/><Relationship Id="rId4" Type="http://schemas.openxmlformats.org/officeDocument/2006/relationships/tags" Target="../tags/tag51.xml"/><Relationship Id="rId9"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4.xml"/><Relationship Id="rId7" Type="http://schemas.openxmlformats.org/officeDocument/2006/relationships/image" Target="../media/image11.jpe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5.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57.xml"/><Relationship Id="rId7" Type="http://schemas.openxmlformats.org/officeDocument/2006/relationships/image" Target="../media/image9.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8.emf"/><Relationship Id="rId5" Type="http://schemas.openxmlformats.org/officeDocument/2006/relationships/oleObject" Target="../embeddings/oleObject22.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1.jpe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0.xml"/><Relationship Id="rId7" Type="http://schemas.openxmlformats.org/officeDocument/2006/relationships/image" Target="../media/image11.jpe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8.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3.xml"/><Relationship Id="rId7" Type="http://schemas.openxmlformats.org/officeDocument/2006/relationships/image" Target="../media/image11.jpe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8.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6.xml"/><Relationship Id="rId7" Type="http://schemas.openxmlformats.org/officeDocument/2006/relationships/image" Target="../media/image11.jpe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69.xml"/><Relationship Id="rId7" Type="http://schemas.openxmlformats.org/officeDocument/2006/relationships/image" Target="../media/image14.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8.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1.jpe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1.jpeg"/><Relationship Id="rId5" Type="http://schemas.openxmlformats.org/officeDocument/2006/relationships/image" Target="../media/image15.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77.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78.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7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80.xml"/><Relationship Id="rId6" Type="http://schemas.microsoft.com/office/2007/relationships/hdphoto" Target="../media/hdphoto1.wdp"/><Relationship Id="rId5" Type="http://schemas.openxmlformats.org/officeDocument/2006/relationships/image" Target="../media/image3.jpeg"/><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81.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2.wdp"/><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08.xml"/><Relationship Id="rId7" Type="http://schemas.openxmlformats.org/officeDocument/2006/relationships/image" Target="../media/image11.jpe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8.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11.xml"/><Relationship Id="rId7" Type="http://schemas.openxmlformats.org/officeDocument/2006/relationships/image" Target="../media/image11.jpe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8.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2.wdp"/><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14.xml"/><Relationship Id="rId7" Type="http://schemas.openxmlformats.org/officeDocument/2006/relationships/image" Target="../media/image11.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8.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17.xml"/><Relationship Id="rId7" Type="http://schemas.openxmlformats.org/officeDocument/2006/relationships/image" Target="../media/image11.jpe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8.emf"/><Relationship Id="rId5" Type="http://schemas.openxmlformats.org/officeDocument/2006/relationships/oleObject" Target="../embeddings/oleObject49.bin"/><Relationship Id="rId10" Type="http://schemas.openxmlformats.org/officeDocument/2006/relationships/image" Target="../media/image12.png"/><Relationship Id="rId4" Type="http://schemas.openxmlformats.org/officeDocument/2006/relationships/slideMaster" Target="../slideMasters/slideMaster1.xml"/><Relationship Id="rId9" Type="http://schemas.openxmlformats.org/officeDocument/2006/relationships/image" Target="../media/image10.sv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0.xml"/><Relationship Id="rId7" Type="http://schemas.openxmlformats.org/officeDocument/2006/relationships/image" Target="../media/image11.jpe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3.xml"/><Relationship Id="rId7" Type="http://schemas.openxmlformats.org/officeDocument/2006/relationships/image" Target="../media/image11.jpe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26.xml"/><Relationship Id="rId7" Type="http://schemas.openxmlformats.org/officeDocument/2006/relationships/image" Target="../media/image11.jpe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5.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9.xml"/><Relationship Id="rId7" Type="http://schemas.openxmlformats.org/officeDocument/2006/relationships/image" Target="../media/image11.jpe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8.emf"/><Relationship Id="rId5" Type="http://schemas.openxmlformats.org/officeDocument/2006/relationships/oleObject" Target="../embeddings/oleObject53.bin"/><Relationship Id="rId10" Type="http://schemas.openxmlformats.org/officeDocument/2006/relationships/image" Target="../media/image10.sv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32.xml"/><Relationship Id="rId7" Type="http://schemas.openxmlformats.org/officeDocument/2006/relationships/image" Target="../media/image11.jpe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35.xml"/><Relationship Id="rId7" Type="http://schemas.openxmlformats.org/officeDocument/2006/relationships/image" Target="../media/image14.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8.emf"/><Relationship Id="rId5" Type="http://schemas.openxmlformats.org/officeDocument/2006/relationships/oleObject" Target="../embeddings/oleObject55.bin"/><Relationship Id="rId10" Type="http://schemas.openxmlformats.org/officeDocument/2006/relationships/image" Target="../media/image11.jpeg"/><Relationship Id="rId4" Type="http://schemas.openxmlformats.org/officeDocument/2006/relationships/slideMaster" Target="../slideMasters/slideMaster1.xml"/><Relationship Id="rId9" Type="http://schemas.openxmlformats.org/officeDocument/2006/relationships/image" Target="../media/image10.sv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38.xml"/><Relationship Id="rId7" Type="http://schemas.openxmlformats.org/officeDocument/2006/relationships/image" Target="../media/image11.jpe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41.xml"/><Relationship Id="rId7" Type="http://schemas.openxmlformats.org/officeDocument/2006/relationships/image" Target="../media/image11.jpe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8.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44.xml"/><Relationship Id="rId7" Type="http://schemas.openxmlformats.org/officeDocument/2006/relationships/image" Target="../media/image11.jpe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47.xml"/><Relationship Id="rId7" Type="http://schemas.openxmlformats.org/officeDocument/2006/relationships/image" Target="../media/image11.jpe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8.emf"/><Relationship Id="rId5" Type="http://schemas.openxmlformats.org/officeDocument/2006/relationships/oleObject" Target="../embeddings/oleObject59.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1.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8.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1.jpe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11.jpeg"/><Relationship Id="rId5" Type="http://schemas.openxmlformats.org/officeDocument/2006/relationships/image" Target="../media/image8.emf"/><Relationship Id="rId4" Type="http://schemas.openxmlformats.org/officeDocument/2006/relationships/oleObject" Target="../embeddings/oleObject63.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1.jpeg"/><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5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160.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7.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7.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1.xml"/><Relationship Id="rId6" Type="http://schemas.microsoft.com/office/2007/relationships/hdphoto" Target="../media/hdphoto1.wdp"/><Relationship Id="rId5" Type="http://schemas.openxmlformats.org/officeDocument/2006/relationships/image" Target="../media/image3.jpeg"/><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62.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image" Target="../media/image11.jpe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2.bin"/><Relationship Id="rId9" Type="http://schemas.openxmlformats.org/officeDocument/2006/relationships/image" Target="../media/image10.sv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17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xml"/><Relationship Id="rId1" Type="http://schemas.openxmlformats.org/officeDocument/2006/relationships/tags" Target="../tags/tag175.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6.bin"/><Relationship Id="rId9" Type="http://schemas.openxmlformats.org/officeDocument/2006/relationships/image" Target="../media/image10.sv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67030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6" name="Rectangle 15">
            <a:extLst>
              <a:ext uri="{FF2B5EF4-FFF2-40B4-BE49-F238E27FC236}">
                <a16:creationId xmlns:a16="http://schemas.microsoft.com/office/drawing/2014/main" id="{71C02377-276C-49B2-BE23-0112E35E3E57}"/>
              </a:ext>
            </a:extLst>
          </p:cNvPr>
          <p:cNvSpPr/>
          <p:nvPr userDrawn="1"/>
        </p:nvSpPr>
        <p:spPr>
          <a:xfrm>
            <a:off x="1" y="2012954"/>
            <a:ext cx="6857999" cy="3669029"/>
          </a:xfrm>
          <a:prstGeom prst="rect">
            <a:avLst/>
          </a:prstGeom>
          <a:solidFill>
            <a:srgbClr val="000000">
              <a:alpha val="8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dirty="0"/>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9344639"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D87D93D-C714-4725-B025-4299225DC2B6}"/>
              </a:ext>
            </a:extLst>
          </p:cNvPr>
          <p:cNvGraphicFramePr>
            <a:graphicFrameLocks noChangeAspect="1"/>
          </p:cNvGraphicFramePr>
          <p:nvPr userDrawn="1">
            <p:custDataLst>
              <p:tags r:id="rId1"/>
            </p:custDataLst>
            <p:extLst>
              <p:ext uri="{D42A27DB-BD31-4B8C-83A1-F6EECF244321}">
                <p14:modId xmlns:p14="http://schemas.microsoft.com/office/powerpoint/2010/main" val="226968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F2C3C1B-97ED-4332-A5A5-D8777D22DF67}"/>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7" name="Graphic 6">
            <a:extLst>
              <a:ext uri="{FF2B5EF4-FFF2-40B4-BE49-F238E27FC236}">
                <a16:creationId xmlns:a16="http://schemas.microsoft.com/office/drawing/2014/main" id="{698C6BC4-A6AD-4F3A-9F47-7232D6F87DC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8FFC59-4FB4-4B70-B838-12419AB05FED}"/>
              </a:ext>
            </a:extLst>
          </p:cNvPr>
          <p:cNvGraphicFramePr>
            <a:graphicFrameLocks noChangeAspect="1"/>
          </p:cNvGraphicFramePr>
          <p:nvPr userDrawn="1">
            <p:custDataLst>
              <p:tags r:id="rId1"/>
            </p:custDataLst>
            <p:extLst>
              <p:ext uri="{D42A27DB-BD31-4B8C-83A1-F6EECF244321}">
                <p14:modId xmlns:p14="http://schemas.microsoft.com/office/powerpoint/2010/main" val="355872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A0C79A9-8B24-4E90-94DA-3721827E861B}"/>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0" name="Picture 9">
            <a:extLst>
              <a:ext uri="{FF2B5EF4-FFF2-40B4-BE49-F238E27FC236}">
                <a16:creationId xmlns:a16="http://schemas.microsoft.com/office/drawing/2014/main" id="{BFD6D521-B04A-4327-9917-15294CBD0A48}"/>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8A062ED3-CE63-4951-B77B-D6727A904343}"/>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06CC76-5B60-4504-B5B4-A6E7565515F2}"/>
              </a:ext>
            </a:extLst>
          </p:cNvPr>
          <p:cNvGraphicFramePr>
            <a:graphicFrameLocks noChangeAspect="1"/>
          </p:cNvGraphicFramePr>
          <p:nvPr userDrawn="1">
            <p:custDataLst>
              <p:tags r:id="rId1"/>
            </p:custDataLst>
            <p:extLst>
              <p:ext uri="{D42A27DB-BD31-4B8C-83A1-F6EECF244321}">
                <p14:modId xmlns:p14="http://schemas.microsoft.com/office/powerpoint/2010/main" val="329243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74A32A-A11E-4C1E-BB2E-BDF9A64F68C2}"/>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Picture 5">
            <a:extLst>
              <a:ext uri="{FF2B5EF4-FFF2-40B4-BE49-F238E27FC236}">
                <a16:creationId xmlns:a16="http://schemas.microsoft.com/office/drawing/2014/main" id="{F215D737-B755-4BAC-BDAF-9CE57E2BA642}"/>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50B4677C-858F-4253-B838-82953794E3B1}"/>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2BB8E6-FE5C-4A11-B568-5106AB1D95D2}"/>
              </a:ext>
            </a:extLst>
          </p:cNvPr>
          <p:cNvGraphicFramePr>
            <a:graphicFrameLocks noChangeAspect="1"/>
          </p:cNvGraphicFramePr>
          <p:nvPr userDrawn="1">
            <p:custDataLst>
              <p:tags r:id="rId1"/>
            </p:custDataLst>
            <p:extLst>
              <p:ext uri="{D42A27DB-BD31-4B8C-83A1-F6EECF244321}">
                <p14:modId xmlns:p14="http://schemas.microsoft.com/office/powerpoint/2010/main" val="805036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76C202-CB1D-47F6-B275-E5090E426FB4}"/>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541A4B94-F16E-4411-AC48-F0CB13975C73}"/>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4690E79D-E845-40C4-A9CA-3136812E6F8D}"/>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23DAC0-7996-4BC4-AC68-32094B8D57D4}"/>
              </a:ext>
            </a:extLst>
          </p:cNvPr>
          <p:cNvGraphicFramePr>
            <a:graphicFrameLocks noChangeAspect="1"/>
          </p:cNvGraphicFramePr>
          <p:nvPr userDrawn="1">
            <p:custDataLst>
              <p:tags r:id="rId1"/>
            </p:custDataLst>
            <p:extLst>
              <p:ext uri="{D42A27DB-BD31-4B8C-83A1-F6EECF244321}">
                <p14:modId xmlns:p14="http://schemas.microsoft.com/office/powerpoint/2010/main" val="352333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D4E9E5-5206-4BDC-AF17-C01CC3B6E27A}"/>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13B60AA9-EB74-427C-B94F-DF072521C83C}"/>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67BEA811-F2A7-4EB0-A0E7-3C176C376D09}"/>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833617-B117-47E4-BC4D-F4D2841E19AC}"/>
              </a:ext>
            </a:extLst>
          </p:cNvPr>
          <p:cNvGraphicFramePr>
            <a:graphicFrameLocks noChangeAspect="1"/>
          </p:cNvGraphicFramePr>
          <p:nvPr userDrawn="1">
            <p:custDataLst>
              <p:tags r:id="rId1"/>
            </p:custDataLst>
            <p:extLst>
              <p:ext uri="{D42A27DB-BD31-4B8C-83A1-F6EECF244321}">
                <p14:modId xmlns:p14="http://schemas.microsoft.com/office/powerpoint/2010/main" val="31544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27BAEF-38ED-4E2D-A996-26AAF6901B39}"/>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B4BABAC7-7AD7-46CD-A995-2FFDCF58E519}"/>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7" name="Overlay">
            <a:extLst>
              <a:ext uri="{FF2B5EF4-FFF2-40B4-BE49-F238E27FC236}">
                <a16:creationId xmlns:a16="http://schemas.microsoft.com/office/drawing/2014/main" id="{31DF97A0-DFBC-4523-8AD8-F6D8CAA5D9B2}"/>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pic>
        <p:nvPicPr>
          <p:cNvPr id="14" name="Graphic 13">
            <a:extLst>
              <a:ext uri="{FF2B5EF4-FFF2-40B4-BE49-F238E27FC236}">
                <a16:creationId xmlns:a16="http://schemas.microsoft.com/office/drawing/2014/main" id="{C27DDD3E-F58B-4C81-AEE6-D43844BAA4F0}"/>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b="3675"/>
          <a:stretch/>
        </p:blipFill>
        <p:spPr>
          <a:xfrm rot="5400000">
            <a:off x="4698999" y="-635000"/>
            <a:ext cx="6858000" cy="8127999"/>
          </a:xfrm>
          <a:prstGeom prst="rect">
            <a:avLst/>
          </a:prstGeom>
        </p:spPr>
      </p:pic>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1FFFF9-1337-4FB6-9F03-026FC56BFA8E}"/>
              </a:ext>
            </a:extLst>
          </p:cNvPr>
          <p:cNvGraphicFramePr>
            <a:graphicFrameLocks noChangeAspect="1"/>
          </p:cNvGraphicFramePr>
          <p:nvPr userDrawn="1">
            <p:custDataLst>
              <p:tags r:id="rId1"/>
            </p:custDataLst>
            <p:extLst>
              <p:ext uri="{D42A27DB-BD31-4B8C-83A1-F6EECF244321}">
                <p14:modId xmlns:p14="http://schemas.microsoft.com/office/powerpoint/2010/main" val="185886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E7CFFD-F58A-4998-9400-1C37D0E44369}"/>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DC4A3C50-F147-4FC3-88FD-5757C6C5E5E6}"/>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A63A41F3-AC7D-4F6E-8925-F5CF5136F1A2}"/>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6572CD-0A1E-4E82-B768-0BEC5EB70FE8}"/>
              </a:ext>
            </a:extLst>
          </p:cNvPr>
          <p:cNvGraphicFramePr>
            <a:graphicFrameLocks noChangeAspect="1"/>
          </p:cNvGraphicFramePr>
          <p:nvPr userDrawn="1">
            <p:custDataLst>
              <p:tags r:id="rId1"/>
            </p:custDataLst>
            <p:extLst>
              <p:ext uri="{D42A27DB-BD31-4B8C-83A1-F6EECF244321}">
                <p14:modId xmlns:p14="http://schemas.microsoft.com/office/powerpoint/2010/main" val="2126563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544CE0-6BAA-40A0-9EEB-7C197D01E8FF}"/>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7" name="Picture 16">
            <a:extLst>
              <a:ext uri="{FF2B5EF4-FFF2-40B4-BE49-F238E27FC236}">
                <a16:creationId xmlns:a16="http://schemas.microsoft.com/office/drawing/2014/main" id="{88A4953B-43EF-45A4-9AC8-3C089CC940ED}"/>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CDFD3F24-2222-461A-BD08-5FFB73D2B920}"/>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3ED114-FC6E-4FB8-ADC6-D243F8AAD090}"/>
              </a:ext>
            </a:extLst>
          </p:cNvPr>
          <p:cNvGraphicFramePr>
            <a:graphicFrameLocks noChangeAspect="1"/>
          </p:cNvGraphicFramePr>
          <p:nvPr userDrawn="1">
            <p:custDataLst>
              <p:tags r:id="rId1"/>
            </p:custDataLst>
            <p:extLst>
              <p:ext uri="{D42A27DB-BD31-4B8C-83A1-F6EECF244321}">
                <p14:modId xmlns:p14="http://schemas.microsoft.com/office/powerpoint/2010/main" val="340800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77B0AB-6273-48C4-A585-6EC49B1B32F7}"/>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A6064ED0-8779-45D3-A688-8FE8EAA6B6ED}"/>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2F3D7F8D-668A-4B05-BC01-ED53104EA848}"/>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0D66CD-E5A3-41A7-9276-DBA0CEBA73AB}"/>
              </a:ext>
            </a:extLst>
          </p:cNvPr>
          <p:cNvGraphicFramePr>
            <a:graphicFrameLocks noChangeAspect="1"/>
          </p:cNvGraphicFramePr>
          <p:nvPr userDrawn="1">
            <p:custDataLst>
              <p:tags r:id="rId1"/>
            </p:custDataLst>
            <p:extLst>
              <p:ext uri="{D42A27DB-BD31-4B8C-83A1-F6EECF244321}">
                <p14:modId xmlns:p14="http://schemas.microsoft.com/office/powerpoint/2010/main" val="106883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78B473-51B4-49D5-B325-7C4FC18F7279}"/>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a:extLst>
              <a:ext uri="{FF2B5EF4-FFF2-40B4-BE49-F238E27FC236}">
                <a16:creationId xmlns:a16="http://schemas.microsoft.com/office/drawing/2014/main" id="{0E01F911-70E8-453F-9FAF-C632F3A28897}"/>
              </a:ext>
            </a:extLst>
          </p:cNvPr>
          <p:cNvPicPr>
            <a:picLocks noChangeAspect="1"/>
          </p:cNvPicPr>
          <p:nvPr userDrawn="1"/>
        </p:nvPicPr>
        <p:blipFill>
          <a:blip r:embed="rId8"/>
          <a:srcRect r="66467"/>
          <a:stretch>
            <a:fillRect/>
          </a:stretch>
        </p:blipFill>
        <p:spPr>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p:spPr>
      </p:pic>
      <p:sp>
        <p:nvSpPr>
          <p:cNvPr id="18" name="Overlay">
            <a:extLst>
              <a:ext uri="{FF2B5EF4-FFF2-40B4-BE49-F238E27FC236}">
                <a16:creationId xmlns:a16="http://schemas.microsoft.com/office/drawing/2014/main" id="{A07F78D3-D9F5-442F-86CD-171E6D887FD5}"/>
              </a:ext>
            </a:extLst>
          </p:cNvPr>
          <p:cNvSpPr/>
          <p:nvPr userDrawn="1">
            <p:custDataLst>
              <p:tags r:id="rId3"/>
            </p:custDataLst>
          </p:nvPr>
        </p:nvSpPr>
        <p:spPr>
          <a:xfrm>
            <a:off x="0" y="0"/>
            <a:ext cx="4088312" cy="6858000"/>
          </a:xfrm>
          <a:prstGeom prst="homePlate">
            <a:avLst>
              <a:gd name="adj" fmla="val 19868"/>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 name="Rectangle 1" hidden="1">
            <a:extLst>
              <a:ext uri="{FF2B5EF4-FFF2-40B4-BE49-F238E27FC236}">
                <a16:creationId xmlns:a16="http://schemas.microsoft.com/office/drawing/2014/main" id="{23740FA9-ABDA-432B-A342-00BDBAE2787F}"/>
              </a:ext>
            </a:extLst>
          </p:cNvPr>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Graphic 10">
            <a:extLst>
              <a:ext uri="{FF2B5EF4-FFF2-40B4-BE49-F238E27FC236}">
                <a16:creationId xmlns:a16="http://schemas.microsoft.com/office/drawing/2014/main" id="{F2D4B6E2-CFC4-4A82-AF43-3F0E4150C2DE}"/>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37363" t="43832" r="15615"/>
          <a:stretch/>
        </p:blipFill>
        <p:spPr>
          <a:xfrm rot="5400000">
            <a:off x="4414443" y="-919556"/>
            <a:ext cx="6858000" cy="8697111"/>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4288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8B418CF-D336-4274-B0FF-6B18F96DAE92}"/>
              </a:ext>
            </a:extLst>
          </p:cNvPr>
          <p:cNvSpPr/>
          <p:nvPr userDrawn="1"/>
        </p:nvSpPr>
        <p:spPr>
          <a:xfrm>
            <a:off x="1" y="0"/>
            <a:ext cx="12191999" cy="5681983"/>
          </a:xfrm>
          <a:prstGeom prst="rect">
            <a:avLst/>
          </a:prstGeom>
          <a:solidFill>
            <a:srgbClr val="000000">
              <a:alpha val="83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dirty="0"/>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306751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04988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240552D-66C8-4BB9-AAC1-3A66AFD05320}"/>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20C1C6F4-D232-4283-8F7F-BA39C6F0D608}"/>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E3E07FAF-C072-4B84-A872-6D3ADF6B4A71}"/>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E449AA-AD7A-4CFE-B763-1DD2C9C93934}"/>
              </a:ext>
            </a:extLst>
          </p:cNvPr>
          <p:cNvGraphicFramePr>
            <a:graphicFrameLocks noChangeAspect="1"/>
          </p:cNvGraphicFramePr>
          <p:nvPr userDrawn="1">
            <p:custDataLst>
              <p:tags r:id="rId1"/>
            </p:custDataLst>
            <p:extLst>
              <p:ext uri="{D42A27DB-BD31-4B8C-83A1-F6EECF244321}">
                <p14:modId xmlns:p14="http://schemas.microsoft.com/office/powerpoint/2010/main" val="263957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CBE440-6ADA-4D74-8FB4-F50B047F8D98}"/>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Graphic 9">
            <a:extLst>
              <a:ext uri="{FF2B5EF4-FFF2-40B4-BE49-F238E27FC236}">
                <a16:creationId xmlns:a16="http://schemas.microsoft.com/office/drawing/2014/main" id="{4937F524-AF21-4775-8BF6-5C8731ECD778}"/>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37363" t="43832" r="15615" b="7858"/>
          <a:stretch/>
        </p:blipFill>
        <p:spPr>
          <a:xfrm rot="5400000">
            <a:off x="5022849" y="-311150"/>
            <a:ext cx="6858000" cy="7480299"/>
          </a:xfrm>
          <a:prstGeom prst="rect">
            <a:avLst/>
          </a:prstGeom>
        </p:spPr>
      </p:pic>
      <p:pic>
        <p:nvPicPr>
          <p:cNvPr id="12" name="Picture 11">
            <a:extLst>
              <a:ext uri="{FF2B5EF4-FFF2-40B4-BE49-F238E27FC236}">
                <a16:creationId xmlns:a16="http://schemas.microsoft.com/office/drawing/2014/main" id="{CEFBC1DB-9E37-4F7D-9184-9F73751A449E}"/>
              </a:ext>
            </a:extLst>
          </p:cNvPr>
          <p:cNvPicPr>
            <a:picLocks noChangeAspect="1"/>
          </p:cNvPicPr>
          <p:nvPr userDrawn="1"/>
        </p:nvPicPr>
        <p:blipFill>
          <a:blip r:embed="rId9"/>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5" name="Overlay">
            <a:extLst>
              <a:ext uri="{FF2B5EF4-FFF2-40B4-BE49-F238E27FC236}">
                <a16:creationId xmlns:a16="http://schemas.microsoft.com/office/drawing/2014/main" id="{675A464E-B43F-476C-84E7-934A3F229950}"/>
              </a:ext>
            </a:extLst>
          </p:cNvPr>
          <p:cNvSpPr/>
          <p:nvPr userDrawn="1">
            <p:custDataLst>
              <p:tags r:id="rId3"/>
            </p:custDataLst>
          </p:nvPr>
        </p:nvSpPr>
        <p:spPr>
          <a:xfrm>
            <a:off x="1" y="0"/>
            <a:ext cx="5426920" cy="6858000"/>
          </a:xfrm>
          <a:prstGeom prst="homePlate">
            <a:avLst>
              <a:gd name="adj" fmla="val 13259"/>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10">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B83252-F806-4C56-8E44-34D6F2F6442A}"/>
              </a:ext>
            </a:extLst>
          </p:cNvPr>
          <p:cNvGraphicFramePr>
            <a:graphicFrameLocks noChangeAspect="1"/>
          </p:cNvGraphicFramePr>
          <p:nvPr userDrawn="1">
            <p:custDataLst>
              <p:tags r:id="rId1"/>
            </p:custDataLst>
            <p:extLst>
              <p:ext uri="{D42A27DB-BD31-4B8C-83A1-F6EECF244321}">
                <p14:modId xmlns:p14="http://schemas.microsoft.com/office/powerpoint/2010/main" val="350126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FBFCC6-93D9-4E8D-ADCE-CC2B604FE3A4}"/>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77FA41CD-5FFD-46A5-8B8F-7034AD01FC06}"/>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B8DD737A-8297-4BFF-BCFC-2F43BEEBAF1F}"/>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E09274-F7D2-4D93-A116-CBBBDD802CF5}"/>
              </a:ext>
            </a:extLst>
          </p:cNvPr>
          <p:cNvGraphicFramePr>
            <a:graphicFrameLocks noChangeAspect="1"/>
          </p:cNvGraphicFramePr>
          <p:nvPr userDrawn="1">
            <p:custDataLst>
              <p:tags r:id="rId1"/>
            </p:custDataLst>
            <p:extLst>
              <p:ext uri="{D42A27DB-BD31-4B8C-83A1-F6EECF244321}">
                <p14:modId xmlns:p14="http://schemas.microsoft.com/office/powerpoint/2010/main" val="4040835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25E3AD-3A07-40DC-A34E-F777C30C825B}"/>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C1539C56-5E4A-4FC1-A8A6-161B620ACD8F}"/>
              </a:ext>
            </a:extLst>
          </p:cNvPr>
          <p:cNvPicPr>
            <a:picLocks noChangeAspect="1"/>
          </p:cNvPicPr>
          <p:nvPr userDrawn="1"/>
        </p:nvPicPr>
        <p:blipFill>
          <a:blip r:embed="rId7"/>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15" name="Overlay">
            <a:extLst>
              <a:ext uri="{FF2B5EF4-FFF2-40B4-BE49-F238E27FC236}">
                <a16:creationId xmlns:a16="http://schemas.microsoft.com/office/drawing/2014/main" id="{650E545F-78F9-4EDF-B4EB-3A3F22CB9A85}"/>
              </a:ext>
            </a:extLst>
          </p:cNvPr>
          <p:cNvSpPr/>
          <p:nvPr userDrawn="1">
            <p:custDataLst>
              <p:tags r:id="rId3"/>
            </p:custDataLst>
          </p:nvPr>
        </p:nvSpPr>
        <p:spPr>
          <a:xfrm>
            <a:off x="0" y="0"/>
            <a:ext cx="6363546" cy="6858000"/>
          </a:xfrm>
          <a:prstGeom prst="homePlate">
            <a:avLst>
              <a:gd name="adj" fmla="val 13478"/>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C10947-EF57-481A-8934-D17DA9F6CB5F}"/>
              </a:ext>
            </a:extLst>
          </p:cNvPr>
          <p:cNvGraphicFramePr>
            <a:graphicFrameLocks noChangeAspect="1"/>
          </p:cNvGraphicFramePr>
          <p:nvPr userDrawn="1">
            <p:custDataLst>
              <p:tags r:id="rId1"/>
            </p:custDataLst>
            <p:extLst>
              <p:ext uri="{D42A27DB-BD31-4B8C-83A1-F6EECF244321}">
                <p14:modId xmlns:p14="http://schemas.microsoft.com/office/powerpoint/2010/main" val="428804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59D4E7-7952-4A05-A95C-DED7E87EAF11}"/>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81F65FA2-1964-4072-8770-C90C3230A209}"/>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7" name="Overlay">
            <a:extLst>
              <a:ext uri="{FF2B5EF4-FFF2-40B4-BE49-F238E27FC236}">
                <a16:creationId xmlns:a16="http://schemas.microsoft.com/office/drawing/2014/main" id="{759DB691-E0DC-4DB6-9C18-F924FC5B9EA0}"/>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683A73-7FF5-4721-AA82-2228E011ADF3}"/>
              </a:ext>
            </a:extLst>
          </p:cNvPr>
          <p:cNvGraphicFramePr>
            <a:graphicFrameLocks noChangeAspect="1"/>
          </p:cNvGraphicFramePr>
          <p:nvPr userDrawn="1">
            <p:custDataLst>
              <p:tags r:id="rId1"/>
            </p:custDataLst>
            <p:extLst>
              <p:ext uri="{D42A27DB-BD31-4B8C-83A1-F6EECF244321}">
                <p14:modId xmlns:p14="http://schemas.microsoft.com/office/powerpoint/2010/main" val="379312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6915D5-8560-48B2-A2F0-605830AE6FC8}"/>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Picture 12">
            <a:extLst>
              <a:ext uri="{FF2B5EF4-FFF2-40B4-BE49-F238E27FC236}">
                <a16:creationId xmlns:a16="http://schemas.microsoft.com/office/drawing/2014/main" id="{61C160A4-3562-4A13-9DED-94A0DDAC9D11}"/>
              </a:ext>
            </a:extLst>
          </p:cNvPr>
          <p:cNvPicPr>
            <a:picLocks noChangeAspect="1"/>
          </p:cNvPicPr>
          <p:nvPr userDrawn="1"/>
        </p:nvPicPr>
        <p:blipFill>
          <a:blip r:embed="rId8"/>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14" name="Overlay">
            <a:extLst>
              <a:ext uri="{FF2B5EF4-FFF2-40B4-BE49-F238E27FC236}">
                <a16:creationId xmlns:a16="http://schemas.microsoft.com/office/drawing/2014/main" id="{1E84B03E-98BB-4429-9F61-F5EA8DB7D68E}"/>
              </a:ext>
            </a:extLst>
          </p:cNvPr>
          <p:cNvSpPr/>
          <p:nvPr userDrawn="1">
            <p:custDataLst>
              <p:tags r:id="rId3"/>
            </p:custDataLst>
          </p:nvPr>
        </p:nvSpPr>
        <p:spPr>
          <a:xfrm>
            <a:off x="1" y="0"/>
            <a:ext cx="8446239" cy="6858000"/>
          </a:xfrm>
          <a:prstGeom prst="homePlate">
            <a:avLst>
              <a:gd name="adj" fmla="val 11481"/>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882FEA-1ADA-4073-A3E1-34E87033E61F}"/>
              </a:ext>
            </a:extLst>
          </p:cNvPr>
          <p:cNvGraphicFramePr>
            <a:graphicFrameLocks noChangeAspect="1"/>
          </p:cNvGraphicFramePr>
          <p:nvPr userDrawn="1">
            <p:custDataLst>
              <p:tags r:id="rId1"/>
            </p:custDataLst>
            <p:extLst>
              <p:ext uri="{D42A27DB-BD31-4B8C-83A1-F6EECF244321}">
                <p14:modId xmlns:p14="http://schemas.microsoft.com/office/powerpoint/2010/main" val="278401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9E80DB1-4664-4C76-B667-D6D26D857B34}"/>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Picture 6">
            <a:extLst>
              <a:ext uri="{FF2B5EF4-FFF2-40B4-BE49-F238E27FC236}">
                <a16:creationId xmlns:a16="http://schemas.microsoft.com/office/drawing/2014/main" id="{5CF255C7-158A-4D96-BF96-F7CE7E4AB312}"/>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C94C96CA-B920-4DC8-A86B-8BF2F7715700}"/>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EE3A5B-686A-41BD-B1BF-57EB181B77D8}"/>
              </a:ext>
            </a:extLst>
          </p:cNvPr>
          <p:cNvGraphicFramePr>
            <a:graphicFrameLocks noChangeAspect="1"/>
          </p:cNvGraphicFramePr>
          <p:nvPr userDrawn="1">
            <p:custDataLst>
              <p:tags r:id="rId1"/>
            </p:custDataLst>
            <p:extLst>
              <p:ext uri="{D42A27DB-BD31-4B8C-83A1-F6EECF244321}">
                <p14:modId xmlns:p14="http://schemas.microsoft.com/office/powerpoint/2010/main" val="289085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0CB8E3-58FD-4903-9E28-D14FC62368C8}"/>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8" name="Graphic 7">
            <a:extLst>
              <a:ext uri="{FF2B5EF4-FFF2-40B4-BE49-F238E27FC236}">
                <a16:creationId xmlns:a16="http://schemas.microsoft.com/office/drawing/2014/main" id="{D56D5615-AB43-4269-AE79-B27597BA81AF}"/>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936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96A90C3-CE5D-44AA-A5C5-DC2F94A0F2F0}"/>
              </a:ext>
            </a:extLst>
          </p:cNvPr>
          <p:cNvPicPr>
            <a:picLocks noChangeAspect="1"/>
          </p:cNvPicPr>
          <p:nvPr userDrawn="1"/>
        </p:nvPicPr>
        <p:blipFill>
          <a:blip r:embed="rId6"/>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A4FD99CB-8535-47D0-BCF0-7D5CDCBA4D4B}"/>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5538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14" name="Rectangle 13">
            <a:extLst>
              <a:ext uri="{FF2B5EF4-FFF2-40B4-BE49-F238E27FC236}">
                <a16:creationId xmlns:a16="http://schemas.microsoft.com/office/drawing/2014/main" id="{DC814D9F-016B-45D9-BB90-91E8B3F44D81}"/>
              </a:ext>
            </a:extLst>
          </p:cNvPr>
          <p:cNvSpPr/>
          <p:nvPr userDrawn="1"/>
        </p:nvSpPr>
        <p:spPr>
          <a:xfrm>
            <a:off x="0" y="1482789"/>
            <a:ext cx="7459580" cy="4678299"/>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dirty="0"/>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549220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901065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069A88-F35A-4BF2-9016-8B72C443D124}"/>
              </a:ext>
            </a:extLst>
          </p:cNvPr>
          <p:cNvGraphicFramePr>
            <a:graphicFrameLocks noChangeAspect="1"/>
          </p:cNvGraphicFramePr>
          <p:nvPr userDrawn="1">
            <p:custDataLst>
              <p:tags r:id="rId1"/>
            </p:custDataLst>
            <p:extLst>
              <p:ext uri="{D42A27DB-BD31-4B8C-83A1-F6EECF244321}">
                <p14:modId xmlns:p14="http://schemas.microsoft.com/office/powerpoint/2010/main" val="331643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92C3FD3E-9FAB-4C73-91B4-A881881A9F57}"/>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37363" t="43832" r="15615"/>
          <a:stretch/>
        </p:blipFill>
        <p:spPr>
          <a:xfrm rot="5400000">
            <a:off x="4414443" y="-919556"/>
            <a:ext cx="6858000" cy="8697111"/>
          </a:xfrm>
          <a:prstGeom prst="rect">
            <a:avLst/>
          </a:prstGeom>
        </p:spPr>
      </p:pic>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6" name="Picture 5">
            <a:extLst>
              <a:ext uri="{FF2B5EF4-FFF2-40B4-BE49-F238E27FC236}">
                <a16:creationId xmlns:a16="http://schemas.microsoft.com/office/drawing/2014/main" id="{FF3DBB54-6E3D-4C6F-BE7C-C3189EB235E0}"/>
              </a:ext>
            </a:extLst>
          </p:cNvPr>
          <p:cNvPicPr>
            <a:picLocks noChangeAspect="1"/>
          </p:cNvPicPr>
          <p:nvPr userDrawn="1"/>
        </p:nvPicPr>
        <p:blipFill>
          <a:blip r:embed="rId3"/>
          <a:stretch>
            <a:fillRect/>
          </a:stretch>
        </p:blipFill>
        <p:spPr>
          <a:xfrm>
            <a:off x="-2" y="0"/>
            <a:ext cx="12192000" cy="6858000"/>
          </a:xfrm>
          <a:prstGeom prst="rect">
            <a:avLst/>
          </a:prstGeom>
        </p:spPr>
      </p:pic>
      <p:sp>
        <p:nvSpPr>
          <p:cNvPr id="10" name="Overlay">
            <a:extLst>
              <a:ext uri="{FF2B5EF4-FFF2-40B4-BE49-F238E27FC236}">
                <a16:creationId xmlns:a16="http://schemas.microsoft.com/office/drawing/2014/main" id="{BA31C702-0D52-4944-B362-3A77A304A37B}"/>
              </a:ext>
            </a:extLst>
          </p:cNvPr>
          <p:cNvSpPr/>
          <p:nvPr userDrawn="1">
            <p:custDataLst>
              <p:tags r:id="rId1"/>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977B4A-8430-4CA8-88F2-26FB1E386D19}"/>
              </a:ext>
            </a:extLst>
          </p:cNvPr>
          <p:cNvGraphicFramePr>
            <a:graphicFrameLocks noChangeAspect="1"/>
          </p:cNvGraphicFramePr>
          <p:nvPr userDrawn="1">
            <p:custDataLst>
              <p:tags r:id="rId1"/>
            </p:custDataLst>
            <p:extLst>
              <p:ext uri="{D42A27DB-BD31-4B8C-83A1-F6EECF244321}">
                <p14:modId xmlns:p14="http://schemas.microsoft.com/office/powerpoint/2010/main" val="33829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437EC905-344F-4CF8-AAA5-B4E37FB62431}"/>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37363" t="43832" r="15615"/>
          <a:stretch/>
        </p:blipFill>
        <p:spPr>
          <a:xfrm rot="5400000">
            <a:off x="4414443" y="-919556"/>
            <a:ext cx="6858000" cy="8697111"/>
          </a:xfrm>
          <a:prstGeom prst="rect">
            <a:avLst/>
          </a:prstGeom>
        </p:spPr>
      </p:pic>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36FE0BF0-6D1D-4FB0-B7FD-3FD6265C5D18}"/>
              </a:ext>
            </a:extLst>
          </p:cNvPr>
          <p:cNvPicPr>
            <a:picLocks noChangeAspect="1"/>
          </p:cNvPicPr>
          <p:nvPr userDrawn="1"/>
        </p:nvPicPr>
        <p:blipFill>
          <a:blip r:embed="rId5">
            <a:extLst>
              <a:ext uri="{BEBA8EAE-BF5A-486C-A8C5-ECC9F3942E4B}">
                <a14:imgProps xmlns:a14="http://schemas.microsoft.com/office/drawing/2010/main">
                  <a14:imgLayer r:embed="rId6">
                    <a14:imgEffect>
                      <a14:colorTemperature colorTemp="11200"/>
                    </a14:imgEffect>
                  </a14:imgLayer>
                </a14:imgProps>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78D10DCD-B12E-43FF-9681-9F850DFE75BF}"/>
              </a:ext>
            </a:extLst>
          </p:cNvPr>
          <p:cNvSpPr/>
          <p:nvPr userDrawn="1"/>
        </p:nvSpPr>
        <p:spPr>
          <a:xfrm>
            <a:off x="-1" y="0"/>
            <a:ext cx="12192000" cy="6858000"/>
          </a:xfrm>
          <a:prstGeom prst="rect">
            <a:avLst/>
          </a:prstGeom>
          <a:solidFill>
            <a:srgbClr val="000000">
              <a:alpha val="6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2" name="Picture 11" descr="Text&#10;&#10;Description automatically generated">
            <a:extLst>
              <a:ext uri="{FF2B5EF4-FFF2-40B4-BE49-F238E27FC236}">
                <a16:creationId xmlns:a16="http://schemas.microsoft.com/office/drawing/2014/main" id="{7AF55CC9-F084-4EDF-BAB8-76C2EFCBDB5E}"/>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261808" y="2775944"/>
            <a:ext cx="5041845" cy="2235649"/>
          </a:xfrm>
          <a:prstGeom prst="rect">
            <a:avLst/>
          </a:prstGeom>
        </p:spPr>
      </p:pic>
      <p:sp>
        <p:nvSpPr>
          <p:cNvPr id="13" name="Rectangle 12">
            <a:extLst>
              <a:ext uri="{FF2B5EF4-FFF2-40B4-BE49-F238E27FC236}">
                <a16:creationId xmlns:a16="http://schemas.microsoft.com/office/drawing/2014/main" id="{45A3192E-5E01-4AA8-B2DD-60DA744E7BAC}"/>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1056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7B39A0A3-F4B3-4EC4-B252-E6AE427AB3D0}"/>
              </a:ext>
            </a:extLst>
          </p:cNvPr>
          <p:cNvPicPr>
            <a:picLocks noChangeAspect="1"/>
          </p:cNvPicPr>
          <p:nvPr userDrawn="1"/>
        </p:nvPicPr>
        <p:blipFill>
          <a:blip r:embed="rId5"/>
          <a:stretch>
            <a:fillRect/>
          </a:stretch>
        </p:blipFill>
        <p:spPr>
          <a:xfrm>
            <a:off x="-1" y="0"/>
            <a:ext cx="12208043" cy="6890084"/>
          </a:xfrm>
          <a:prstGeom prst="rect">
            <a:avLst/>
          </a:prstGeom>
        </p:spPr>
      </p:pic>
      <p:sp>
        <p:nvSpPr>
          <p:cNvPr id="8" name="Rectangle 7">
            <a:extLst>
              <a:ext uri="{FF2B5EF4-FFF2-40B4-BE49-F238E27FC236}">
                <a16:creationId xmlns:a16="http://schemas.microsoft.com/office/drawing/2014/main" id="{46AF1CEC-60FF-4796-886B-67ADF2A1AA8E}"/>
              </a:ext>
            </a:extLst>
          </p:cNvPr>
          <p:cNvSpPr/>
          <p:nvPr userDrawn="1"/>
        </p:nvSpPr>
        <p:spPr>
          <a:xfrm>
            <a:off x="-1" y="-13587"/>
            <a:ext cx="12208043" cy="6871587"/>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9" name="Picture 8" descr="Text&#10;&#10;Description automatically generated">
            <a:extLst>
              <a:ext uri="{FF2B5EF4-FFF2-40B4-BE49-F238E27FC236}">
                <a16:creationId xmlns:a16="http://schemas.microsoft.com/office/drawing/2014/main" id="{412E933E-ADAA-4BE1-A903-CA4947028C44}"/>
              </a:ext>
            </a:extLst>
          </p:cNvPr>
          <p:cNvPicPr>
            <a:picLocks noChangeAspect="1"/>
          </p:cNvPicPr>
          <p:nvPr userDrawn="1"/>
        </p:nvPicPr>
        <p:blipFill rotWithShape="1">
          <a:blip r:embed="rId6">
            <a:clrChange>
              <a:clrFrom>
                <a:srgbClr val="040707"/>
              </a:clrFrom>
              <a:clrTo>
                <a:srgbClr val="040707">
                  <a:alpha val="0"/>
                </a:srgbClr>
              </a:clrTo>
            </a:clrChange>
          </a:blip>
          <a:srcRect r="1718" b="51704"/>
          <a:stretch/>
        </p:blipFill>
        <p:spPr>
          <a:xfrm>
            <a:off x="53262" y="3003326"/>
            <a:ext cx="5041845" cy="2235649"/>
          </a:xfrm>
          <a:prstGeom prst="rect">
            <a:avLst/>
          </a:prstGeom>
        </p:spPr>
      </p:pic>
    </p:spTree>
    <p:extLst>
      <p:ext uri="{BB962C8B-B14F-4D97-AF65-F5344CB8AC3E}">
        <p14:creationId xmlns:p14="http://schemas.microsoft.com/office/powerpoint/2010/main" val="1489561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267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a:extLst>
              <a:ext uri="{FF2B5EF4-FFF2-40B4-BE49-F238E27FC236}">
                <a16:creationId xmlns:a16="http://schemas.microsoft.com/office/drawing/2014/main" id="{F8AD192A-B366-4929-9E83-CC82FE747446}"/>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59920E68-2A7F-4959-85AC-BBC959263806}"/>
              </a:ext>
            </a:extLst>
          </p:cNvPr>
          <p:cNvSpPr/>
          <p:nvPr userDrawn="1"/>
        </p:nvSpPr>
        <p:spPr>
          <a:xfrm>
            <a:off x="1" y="2012954"/>
            <a:ext cx="6857999" cy="3669029"/>
          </a:xfrm>
          <a:prstGeom prst="rect">
            <a:avLst/>
          </a:prstGeom>
          <a:solidFill>
            <a:srgbClr val="000000">
              <a:alpha val="88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9" name="Picture 18" descr="Text&#10;&#10;Description automatically generated">
            <a:extLst>
              <a:ext uri="{FF2B5EF4-FFF2-40B4-BE49-F238E27FC236}">
                <a16:creationId xmlns:a16="http://schemas.microsoft.com/office/drawing/2014/main" id="{61ED11D6-C6AE-4BBF-99D1-426ACB58F6CB}"/>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23" name="Rectangle 22">
            <a:extLst>
              <a:ext uri="{FF2B5EF4-FFF2-40B4-BE49-F238E27FC236}">
                <a16:creationId xmlns:a16="http://schemas.microsoft.com/office/drawing/2014/main" id="{B9F768F7-874F-4DFF-B14F-13D7416C9DEE}"/>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Title 1">
            <a:extLst>
              <a:ext uri="{FF2B5EF4-FFF2-40B4-BE49-F238E27FC236}">
                <a16:creationId xmlns:a16="http://schemas.microsoft.com/office/drawing/2014/main" id="{3CD14146-E533-4542-8F01-155821D09F11}"/>
              </a:ext>
            </a:extLst>
          </p:cNvPr>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dirty="0"/>
              <a:t>Title in Title Case</a:t>
            </a:r>
          </a:p>
        </p:txBody>
      </p:sp>
      <p:sp>
        <p:nvSpPr>
          <p:cNvPr id="25" name="Text Placeholder 6">
            <a:extLst>
              <a:ext uri="{FF2B5EF4-FFF2-40B4-BE49-F238E27FC236}">
                <a16:creationId xmlns:a16="http://schemas.microsoft.com/office/drawing/2014/main" id="{563A8A67-F252-4EB9-94B8-E60211B2ED88}"/>
              </a:ext>
            </a:extLst>
          </p:cNvPr>
          <p:cNvSpPr>
            <a:spLocks noGrp="1"/>
          </p:cNvSpPr>
          <p:nvPr>
            <p:ph type="body" sz="quarter" idx="12" hasCustomPrompt="1"/>
          </p:nvPr>
        </p:nvSpPr>
        <p:spPr bwMode="black">
          <a:xfrm>
            <a:off x="9344639"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43586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1C54F24B-2251-49AA-BA45-1EAD53472F04}"/>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98B418CF-D336-4274-B0FF-6B18F96DAE92}"/>
              </a:ext>
            </a:extLst>
          </p:cNvPr>
          <p:cNvSpPr/>
          <p:nvPr userDrawn="1"/>
        </p:nvSpPr>
        <p:spPr>
          <a:xfrm>
            <a:off x="1" y="0"/>
            <a:ext cx="12191999" cy="5681983"/>
          </a:xfrm>
          <a:prstGeom prst="rect">
            <a:avLst/>
          </a:prstGeom>
          <a:solidFill>
            <a:srgbClr val="000000">
              <a:alpha val="83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7" name="Picture 16" descr="Text&#10;&#10;Description automatically generated">
            <a:extLst>
              <a:ext uri="{FF2B5EF4-FFF2-40B4-BE49-F238E27FC236}">
                <a16:creationId xmlns:a16="http://schemas.microsoft.com/office/drawing/2014/main" id="{A3270A9F-8C65-4902-B9F6-D4A022D1F7CC}"/>
              </a:ext>
            </a:extLst>
          </p:cNvPr>
          <p:cNvPicPr>
            <a:picLocks noChangeAspect="1"/>
          </p:cNvPicPr>
          <p:nvPr userDrawn="1"/>
        </p:nvPicPr>
        <p:blipFill rotWithShape="1">
          <a:blip r:embed="rId8">
            <a:clrChange>
              <a:clrFrom>
                <a:srgbClr val="040707"/>
              </a:clrFrom>
              <a:clrTo>
                <a:srgbClr val="040707">
                  <a:alpha val="0"/>
                </a:srgbClr>
              </a:clrTo>
            </a:clrChange>
          </a:blip>
          <a:srcRect r="1718" b="51704"/>
          <a:stretch/>
        </p:blipFill>
        <p:spPr>
          <a:xfrm>
            <a:off x="376108" y="2528856"/>
            <a:ext cx="3413477" cy="1513600"/>
          </a:xfrm>
          <a:prstGeom prst="rect">
            <a:avLst/>
          </a:prstGeom>
        </p:spPr>
      </p:pic>
      <p:sp>
        <p:nvSpPr>
          <p:cNvPr id="19" name="Rectangle 18">
            <a:extLst>
              <a:ext uri="{FF2B5EF4-FFF2-40B4-BE49-F238E27FC236}">
                <a16:creationId xmlns:a16="http://schemas.microsoft.com/office/drawing/2014/main" id="{600A81B6-75C6-404D-B72D-6A25A22A0FA7}"/>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itle 1"/>
          <p:cNvSpPr>
            <a:spLocks noGrp="1"/>
          </p:cNvSpPr>
          <p:nvPr>
            <p:ph type="ctrTitle" hasCustomPrompt="1"/>
          </p:nvPr>
        </p:nvSpPr>
        <p:spPr bwMode="ltGray">
          <a:xfrm>
            <a:off x="719008" y="3873500"/>
            <a:ext cx="6037392" cy="1303020"/>
          </a:xfrm>
          <a:prstGeom prst="rect">
            <a:avLst/>
          </a:prstGeom>
        </p:spPr>
        <p:txBody>
          <a:bodyPr anchor="t">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dirty="0"/>
              <a:t>Title in Title Case</a:t>
            </a:r>
          </a:p>
        </p:txBody>
      </p:sp>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26193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1935923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95991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14" name="Rectangle 13">
            <a:extLst>
              <a:ext uri="{FF2B5EF4-FFF2-40B4-BE49-F238E27FC236}">
                <a16:creationId xmlns:a16="http://schemas.microsoft.com/office/drawing/2014/main" id="{DC814D9F-016B-45D9-BB90-91E8B3F44D81}"/>
              </a:ext>
            </a:extLst>
          </p:cNvPr>
          <p:cNvSpPr/>
          <p:nvPr userDrawn="1"/>
        </p:nvSpPr>
        <p:spPr>
          <a:xfrm>
            <a:off x="0" y="1482789"/>
            <a:ext cx="7459580" cy="4678299"/>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dirty="0"/>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5492201"/>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3409116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93102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13" name="Rectangle 12">
            <a:extLst>
              <a:ext uri="{FF2B5EF4-FFF2-40B4-BE49-F238E27FC236}">
                <a16:creationId xmlns:a16="http://schemas.microsoft.com/office/drawing/2014/main" id="{0E8C20C0-AEFC-41EA-B163-CB841ECBE913}"/>
              </a:ext>
            </a:extLst>
          </p:cNvPr>
          <p:cNvSpPr/>
          <p:nvPr userDrawn="1"/>
        </p:nvSpPr>
        <p:spPr>
          <a:xfrm>
            <a:off x="-16043" y="0"/>
            <a:ext cx="12208043" cy="5529943"/>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dirty="0"/>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100528"/>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3197491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25740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E419EA9E-EB50-4D99-8ADC-8666EDCE20DC}"/>
              </a:ext>
            </a:extLst>
          </p:cNvPr>
          <p:cNvPicPr>
            <a:picLocks noChangeAspect="1"/>
          </p:cNvPicPr>
          <p:nvPr userDrawn="1"/>
        </p:nvPicPr>
        <p:blipFill>
          <a:blip r:embed="rId6"/>
          <a:stretch>
            <a:fillRect/>
          </a:stretch>
        </p:blipFill>
        <p:spPr>
          <a:xfrm>
            <a:off x="-1" y="0"/>
            <a:ext cx="12208043" cy="6890084"/>
          </a:xfrm>
          <a:prstGeom prst="rect">
            <a:avLst/>
          </a:prstGeom>
        </p:spPr>
      </p:pic>
      <p:sp>
        <p:nvSpPr>
          <p:cNvPr id="13" name="Rectangle 12">
            <a:extLst>
              <a:ext uri="{FF2B5EF4-FFF2-40B4-BE49-F238E27FC236}">
                <a16:creationId xmlns:a16="http://schemas.microsoft.com/office/drawing/2014/main" id="{0E8C20C0-AEFC-41EA-B163-CB841ECBE913}"/>
              </a:ext>
            </a:extLst>
          </p:cNvPr>
          <p:cNvSpPr/>
          <p:nvPr userDrawn="1"/>
        </p:nvSpPr>
        <p:spPr>
          <a:xfrm>
            <a:off x="-16043" y="0"/>
            <a:ext cx="12208043" cy="5529943"/>
          </a:xfrm>
          <a:prstGeom prst="rect">
            <a:avLst/>
          </a:prstGeom>
          <a:solidFill>
            <a:srgbClr val="000000">
              <a:alpha val="7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itle 1"/>
          <p:cNvSpPr>
            <a:spLocks noGrp="1"/>
          </p:cNvSpPr>
          <p:nvPr>
            <p:ph type="ctrTitle" hasCustomPrompt="1"/>
          </p:nvPr>
        </p:nvSpPr>
        <p:spPr bwMode="ltGray">
          <a:xfrm>
            <a:off x="719008" y="3491990"/>
            <a:ext cx="6037392" cy="822960"/>
          </a:xfrm>
          <a:prstGeom prst="rect">
            <a:avLst/>
          </a:prstGeom>
        </p:spPr>
        <p:txBody>
          <a:bodyPr anchor="ctr">
            <a:normAutofit/>
          </a:bodyPr>
          <a:lstStyle>
            <a:lvl1pPr algn="l">
              <a:lnSpc>
                <a:spcPct val="93000"/>
              </a:lnSpc>
              <a:defRPr sz="4000" baseline="0">
                <a:solidFill>
                  <a:schemeClr val="bg1"/>
                </a:solidFill>
                <a:latin typeface="+mj-lt"/>
                <a:sym typeface="Trebuchet MS" panose="020B0603020202020204" pitchFamily="34" charset="0"/>
              </a:defRPr>
            </a:lvl1pPr>
          </a:lstStyle>
          <a:p>
            <a:r>
              <a:rPr lang="en-US" dirty="0"/>
              <a:t>Title in Title Case</a:t>
            </a:r>
          </a:p>
        </p:txBody>
      </p:sp>
      <p:sp>
        <p:nvSpPr>
          <p:cNvPr id="11" name="Rectangle 10">
            <a:extLst>
              <a:ext uri="{FF2B5EF4-FFF2-40B4-BE49-F238E27FC236}">
                <a16:creationId xmlns:a16="http://schemas.microsoft.com/office/drawing/2014/main" id="{4C918202-8024-40C5-8742-5F8294D03FD5}"/>
              </a:ext>
            </a:extLst>
          </p:cNvPr>
          <p:cNvSpPr/>
          <p:nvPr userDrawn="1"/>
        </p:nvSpPr>
        <p:spPr>
          <a:xfrm flipH="1">
            <a:off x="-1" y="3491990"/>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2" name="Picture 11" descr="Text&#10;&#10;Description automatically generated">
            <a:extLst>
              <a:ext uri="{FF2B5EF4-FFF2-40B4-BE49-F238E27FC236}">
                <a16:creationId xmlns:a16="http://schemas.microsoft.com/office/drawing/2014/main" id="{623BF0C3-98E7-4B98-A189-744E448AEC5E}"/>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239455" y="1694350"/>
            <a:ext cx="3346384" cy="1483850"/>
          </a:xfrm>
          <a:prstGeom prst="rect">
            <a:avLst/>
          </a:prstGeom>
        </p:spPr>
      </p:pic>
      <p:sp>
        <p:nvSpPr>
          <p:cNvPr id="23" name="Text Placeholder 6">
            <a:extLst>
              <a:ext uri="{FF2B5EF4-FFF2-40B4-BE49-F238E27FC236}">
                <a16:creationId xmlns:a16="http://schemas.microsoft.com/office/drawing/2014/main" id="{F9F1B151-B2A2-4EBB-B6F3-EACB39843467}"/>
              </a:ext>
            </a:extLst>
          </p:cNvPr>
          <p:cNvSpPr>
            <a:spLocks noGrp="1"/>
          </p:cNvSpPr>
          <p:nvPr>
            <p:ph type="body" sz="quarter" idx="12" hasCustomPrompt="1"/>
          </p:nvPr>
        </p:nvSpPr>
        <p:spPr bwMode="black">
          <a:xfrm>
            <a:off x="719008" y="6100528"/>
            <a:ext cx="2270878" cy="218971"/>
          </a:xfrm>
          <a:prstGeom prst="rect">
            <a:avLst/>
          </a:prstGeom>
          <a:noFill/>
        </p:spPr>
        <p:txBody>
          <a:bodyPr wrap="none" anchor="ctr">
            <a:spAutoFit/>
          </a:bodyPr>
          <a:lstStyle>
            <a:lvl1pPr algn="l">
              <a:lnSpc>
                <a:spcPct val="110000"/>
              </a:lnSpc>
              <a:buNone/>
              <a:defRPr sz="14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402641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34307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5" name="Picture 14">
            <a:extLst>
              <a:ext uri="{FF2B5EF4-FFF2-40B4-BE49-F238E27FC236}">
                <a16:creationId xmlns:a16="http://schemas.microsoft.com/office/drawing/2014/main" id="{AFFEB9A6-4F0E-4AB7-B6C6-B3884B163F6C}"/>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5923"/>
            <a:ext cx="12192000" cy="4152900"/>
          </a:xfrm>
          <a:prstGeom prst="rect">
            <a:avLst/>
          </a:prstGeom>
        </p:spPr>
      </p:pic>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dirty="0"/>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dirty="0">
                <a:solidFill>
                  <a:schemeClr val="bg1"/>
                </a:solidFill>
                <a:cs typeface="Henderson BCG Mod" panose="02060703040403060203" pitchFamily="18" charset="0"/>
              </a:rPr>
              <a:t>01</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981940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_D. 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9395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719C14DC-995F-43D8-964D-BD81E1911DDA}"/>
              </a:ext>
            </a:extLst>
          </p:cNvPr>
          <p:cNvPicPr>
            <a:picLocks noChangeAspect="1"/>
          </p:cNvPicPr>
          <p:nvPr userDrawn="1"/>
        </p:nvPicPr>
        <p:blipFill>
          <a:blip r:embed="rId6"/>
          <a:stretch>
            <a:fillRect/>
          </a:stretch>
        </p:blipFill>
        <p:spPr>
          <a:xfrm>
            <a:off x="0" y="17249"/>
            <a:ext cx="12192000" cy="4160520"/>
          </a:xfrm>
          <a:prstGeom prst="rect">
            <a:avLst/>
          </a:prstGeom>
        </p:spPr>
      </p:pic>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dirty="0"/>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dirty="0">
                <a:solidFill>
                  <a:schemeClr val="bg1"/>
                </a:solidFill>
                <a:cs typeface="Henderson BCG Mod" panose="02060703040403060203" pitchFamily="18" charset="0"/>
              </a:rPr>
              <a:t>02</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671915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574F8-F3D9-4C21-9ACE-187BFA459F32}"/>
              </a:ext>
            </a:extLst>
          </p:cNvPr>
          <p:cNvGraphicFramePr>
            <a:graphicFrameLocks noChangeAspect="1"/>
          </p:cNvGraphicFramePr>
          <p:nvPr userDrawn="1">
            <p:custDataLst>
              <p:tags r:id="rId1"/>
            </p:custDataLst>
            <p:extLst>
              <p:ext uri="{D42A27DB-BD31-4B8C-83A1-F6EECF244321}">
                <p14:modId xmlns:p14="http://schemas.microsoft.com/office/powerpoint/2010/main" val="287986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D17AC3-AC0C-4396-BC13-E2EC7DD532A8}"/>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574F8-F3D9-4C21-9ACE-187BFA459F32}"/>
              </a:ext>
            </a:extLst>
          </p:cNvPr>
          <p:cNvGraphicFramePr>
            <a:graphicFrameLocks noChangeAspect="1"/>
          </p:cNvGraphicFramePr>
          <p:nvPr userDrawn="1">
            <p:custDataLst>
              <p:tags r:id="rId1"/>
            </p:custDataLst>
            <p:extLst>
              <p:ext uri="{D42A27DB-BD31-4B8C-83A1-F6EECF244321}">
                <p14:modId xmlns:p14="http://schemas.microsoft.com/office/powerpoint/2010/main" val="228392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C0E574F8-F3D9-4C21-9ACE-187BFA459F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CD17AC3-AC0C-4396-BC13-E2EC7DD532A8}"/>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Graphic 5">
            <a:extLst>
              <a:ext uri="{FF2B5EF4-FFF2-40B4-BE49-F238E27FC236}">
                <a16:creationId xmlns:a16="http://schemas.microsoft.com/office/drawing/2014/main" id="{E6B818F7-67AA-4DE3-A569-6E37FE512720}"/>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56655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880DCD-F53B-4363-AA03-C9E003376135}"/>
              </a:ext>
            </a:extLst>
          </p:cNvPr>
          <p:cNvGraphicFramePr>
            <a:graphicFrameLocks noChangeAspect="1"/>
          </p:cNvGraphicFramePr>
          <p:nvPr userDrawn="1">
            <p:custDataLst>
              <p:tags r:id="rId1"/>
            </p:custDataLst>
            <p:extLst>
              <p:ext uri="{D42A27DB-BD31-4B8C-83A1-F6EECF244321}">
                <p14:modId xmlns:p14="http://schemas.microsoft.com/office/powerpoint/2010/main" val="244971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B9A108-16D7-4964-9F47-EE01131AD76E}"/>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Graphic 4">
            <a:extLst>
              <a:ext uri="{FF2B5EF4-FFF2-40B4-BE49-F238E27FC236}">
                <a16:creationId xmlns:a16="http://schemas.microsoft.com/office/drawing/2014/main" id="{6CB34635-C3C2-4E50-94B2-34C997880D25}"/>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chemeClr val="tx2"/>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solidFill>
                  <a:schemeClr val="tx2"/>
                </a:solidFill>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AA432F-A32D-4E94-8F71-73DECCE1F6C7}"/>
              </a:ext>
            </a:extLst>
          </p:cNvPr>
          <p:cNvGraphicFramePr>
            <a:graphicFrameLocks noChangeAspect="1"/>
          </p:cNvGraphicFramePr>
          <p:nvPr userDrawn="1">
            <p:custDataLst>
              <p:tags r:id="rId1"/>
            </p:custDataLst>
            <p:extLst>
              <p:ext uri="{D42A27DB-BD31-4B8C-83A1-F6EECF244321}">
                <p14:modId xmlns:p14="http://schemas.microsoft.com/office/powerpoint/2010/main" val="124355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83F3B2E-258C-48BD-A20E-707C03BE9096}"/>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pic>
        <p:nvPicPr>
          <p:cNvPr id="10" name="Graphic 9">
            <a:extLst>
              <a:ext uri="{FF2B5EF4-FFF2-40B4-BE49-F238E27FC236}">
                <a16:creationId xmlns:a16="http://schemas.microsoft.com/office/drawing/2014/main" id="{AD63DB26-4C92-4D68-94D1-9B600529619E}"/>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01C1F2-5C7A-4457-926E-4C4F6E7631D2}"/>
              </a:ext>
            </a:extLst>
          </p:cNvPr>
          <p:cNvGraphicFramePr>
            <a:graphicFrameLocks noChangeAspect="1"/>
          </p:cNvGraphicFramePr>
          <p:nvPr userDrawn="1">
            <p:custDataLst>
              <p:tags r:id="rId1"/>
            </p:custDataLst>
            <p:extLst>
              <p:ext uri="{D42A27DB-BD31-4B8C-83A1-F6EECF244321}">
                <p14:modId xmlns:p14="http://schemas.microsoft.com/office/powerpoint/2010/main" val="141689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F1378B7-6FDD-420B-807D-589A75A983F7}"/>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7" name="Graphic 6">
            <a:extLst>
              <a:ext uri="{FF2B5EF4-FFF2-40B4-BE49-F238E27FC236}">
                <a16:creationId xmlns:a16="http://schemas.microsoft.com/office/drawing/2014/main" id="{DCAC2CC1-626B-4C82-B9CD-3A288DECD085}"/>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0B2BB5-FA78-4AC3-A5EC-04D91C99E18D}"/>
              </a:ext>
            </a:extLst>
          </p:cNvPr>
          <p:cNvGraphicFramePr>
            <a:graphicFrameLocks noChangeAspect="1"/>
          </p:cNvGraphicFramePr>
          <p:nvPr userDrawn="1">
            <p:custDataLst>
              <p:tags r:id="rId1"/>
            </p:custDataLst>
            <p:extLst>
              <p:ext uri="{D42A27DB-BD31-4B8C-83A1-F6EECF244321}">
                <p14:modId xmlns:p14="http://schemas.microsoft.com/office/powerpoint/2010/main" val="4022335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F0EE5F-63BC-4260-B167-7A49DA2C36FB}"/>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Graphic 4">
            <a:extLst>
              <a:ext uri="{FF2B5EF4-FFF2-40B4-BE49-F238E27FC236}">
                <a16:creationId xmlns:a16="http://schemas.microsoft.com/office/drawing/2014/main" id="{5F7D9331-EFF6-4D29-923A-AA79C62FA938}"/>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831DE2-8CFA-4099-B211-EC504319C905}"/>
              </a:ext>
            </a:extLst>
          </p:cNvPr>
          <p:cNvGraphicFramePr>
            <a:graphicFrameLocks noChangeAspect="1"/>
          </p:cNvGraphicFramePr>
          <p:nvPr userDrawn="1">
            <p:custDataLst>
              <p:tags r:id="rId1"/>
            </p:custDataLst>
            <p:extLst>
              <p:ext uri="{D42A27DB-BD31-4B8C-83A1-F6EECF244321}">
                <p14:modId xmlns:p14="http://schemas.microsoft.com/office/powerpoint/2010/main" val="53523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481D90-2F73-43D5-8ACC-3DDACFA64C95}"/>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3661E428-55DE-4BB2-B03D-F6D5B0DD184F}"/>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DA23AC88-CE5A-4884-AFC2-163B3DAD285C}"/>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D10983-72EA-4433-91AF-69E7C586FBEC}"/>
              </a:ext>
            </a:extLst>
          </p:cNvPr>
          <p:cNvGraphicFramePr>
            <a:graphicFrameLocks noChangeAspect="1"/>
          </p:cNvGraphicFramePr>
          <p:nvPr userDrawn="1">
            <p:custDataLst>
              <p:tags r:id="rId1"/>
            </p:custDataLst>
            <p:extLst>
              <p:ext uri="{D42A27DB-BD31-4B8C-83A1-F6EECF244321}">
                <p14:modId xmlns:p14="http://schemas.microsoft.com/office/powerpoint/2010/main" val="3245427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1BAAAAE-93FE-4F47-828F-91BA29824D3A}"/>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89FFA903-0763-442E-B86D-97457370037E}"/>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3B0B1E50-479F-4825-BA7C-6D22BBE4270C}"/>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29657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5" name="Picture 14">
            <a:extLst>
              <a:ext uri="{FF2B5EF4-FFF2-40B4-BE49-F238E27FC236}">
                <a16:creationId xmlns:a16="http://schemas.microsoft.com/office/drawing/2014/main" id="{AFFEB9A6-4F0E-4AB7-B6C6-B3884B163F6C}"/>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11200"/>
                    </a14:imgEffect>
                  </a14:imgLayer>
                </a14:imgProps>
              </a:ext>
            </a:extLst>
          </a:blip>
          <a:stretch>
            <a:fillRect/>
          </a:stretch>
        </p:blipFill>
        <p:spPr>
          <a:xfrm>
            <a:off x="0" y="-5923"/>
            <a:ext cx="12192000" cy="4152900"/>
          </a:xfrm>
          <a:prstGeom prst="rect">
            <a:avLst/>
          </a:prstGeom>
        </p:spPr>
      </p:pic>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dirty="0"/>
              <a:t>Title in Title Case</a:t>
            </a:r>
          </a:p>
        </p:txBody>
      </p:sp>
      <p:sp>
        <p:nvSpPr>
          <p:cNvPr id="17" name="TextBox 16">
            <a:extLst>
              <a:ext uri="{FF2B5EF4-FFF2-40B4-BE49-F238E27FC236}">
                <a16:creationId xmlns:a16="http://schemas.microsoft.com/office/drawing/2014/main" id="{796312CE-C289-4BB0-B832-04733478C47D}"/>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dirty="0">
                <a:solidFill>
                  <a:schemeClr val="bg1"/>
                </a:solidFill>
                <a:cs typeface="Henderson BCG Mod" panose="02060703040403060203" pitchFamily="18" charset="0"/>
              </a:rPr>
              <a:t>01</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202152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CA66B5-3225-4D14-A1D6-6009EB57FE11}"/>
              </a:ext>
            </a:extLst>
          </p:cNvPr>
          <p:cNvGraphicFramePr>
            <a:graphicFrameLocks noChangeAspect="1"/>
          </p:cNvGraphicFramePr>
          <p:nvPr userDrawn="1">
            <p:custDataLst>
              <p:tags r:id="rId1"/>
            </p:custDataLst>
            <p:extLst>
              <p:ext uri="{D42A27DB-BD31-4B8C-83A1-F6EECF244321}">
                <p14:modId xmlns:p14="http://schemas.microsoft.com/office/powerpoint/2010/main" val="423017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AD32F10-BFBF-4958-8367-CD6E9CE39F27}"/>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5F119905-A778-47E0-85C3-A3CFCC7AF970}"/>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DB3D1E55-AC38-46B4-8263-43E324B06697}"/>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8DD9CB-940B-431A-B994-1D8D12847FF5}"/>
              </a:ext>
            </a:extLst>
          </p:cNvPr>
          <p:cNvGraphicFramePr>
            <a:graphicFrameLocks noChangeAspect="1"/>
          </p:cNvGraphicFramePr>
          <p:nvPr userDrawn="1">
            <p:custDataLst>
              <p:tags r:id="rId1"/>
            </p:custDataLst>
            <p:extLst>
              <p:ext uri="{D42A27DB-BD31-4B8C-83A1-F6EECF244321}">
                <p14:modId xmlns:p14="http://schemas.microsoft.com/office/powerpoint/2010/main" val="117831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3AFE9A-B350-47CF-BD06-456FD279C2C0}"/>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23EA3D6F-550C-4D31-8785-42409DBB5ED4}"/>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DCF794B5-A979-4843-AC10-00A98783E12A}"/>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pic>
        <p:nvPicPr>
          <p:cNvPr id="11" name="Graphic 10">
            <a:extLst>
              <a:ext uri="{FF2B5EF4-FFF2-40B4-BE49-F238E27FC236}">
                <a16:creationId xmlns:a16="http://schemas.microsoft.com/office/drawing/2014/main" id="{886B7C1B-69C8-42D3-B2FD-5CCE1FAC74C6}"/>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37363" t="43832" r="15615" b="3840"/>
          <a:stretch/>
        </p:blipFill>
        <p:spPr>
          <a:xfrm rot="5400000">
            <a:off x="4711699" y="-622300"/>
            <a:ext cx="6858000" cy="8102599"/>
          </a:xfrm>
          <a:prstGeom prst="rect">
            <a:avLst/>
          </a:prstGeom>
        </p:spPr>
      </p:pic>
      <p:pic>
        <p:nvPicPr>
          <p:cNvPr id="23" name="Picture 22"/>
          <p:cNvPicPr>
            <a:picLocks noChangeAspect="1"/>
          </p:cNvPicPr>
          <p:nvPr userDrawn="1"/>
        </p:nvPicPr>
        <p:blipFill rotWithShape="1">
          <a:blip r:embed="rId1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0570CE-8353-4C23-B7A7-40AD3FEAB6FB}"/>
              </a:ext>
            </a:extLst>
          </p:cNvPr>
          <p:cNvGraphicFramePr>
            <a:graphicFrameLocks noChangeAspect="1"/>
          </p:cNvGraphicFramePr>
          <p:nvPr userDrawn="1">
            <p:custDataLst>
              <p:tags r:id="rId1"/>
            </p:custDataLst>
            <p:extLst>
              <p:ext uri="{D42A27DB-BD31-4B8C-83A1-F6EECF244321}">
                <p14:modId xmlns:p14="http://schemas.microsoft.com/office/powerpoint/2010/main" val="306596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5FC93F-B4E4-4DB9-B095-7F86CCC37CDE}"/>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a:extLst>
              <a:ext uri="{FF2B5EF4-FFF2-40B4-BE49-F238E27FC236}">
                <a16:creationId xmlns:a16="http://schemas.microsoft.com/office/drawing/2014/main" id="{33B9A828-918B-48AF-B5C9-309F5B158F7A}"/>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9" name="Overlay">
            <a:extLst>
              <a:ext uri="{FF2B5EF4-FFF2-40B4-BE49-F238E27FC236}">
                <a16:creationId xmlns:a16="http://schemas.microsoft.com/office/drawing/2014/main" id="{B3232610-7ED9-4842-AD67-85C140B7EAA7}"/>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2B6B50-ADB2-4C58-A097-3324CDEEADB4}"/>
              </a:ext>
            </a:extLst>
          </p:cNvPr>
          <p:cNvGraphicFramePr>
            <a:graphicFrameLocks noChangeAspect="1"/>
          </p:cNvGraphicFramePr>
          <p:nvPr userDrawn="1">
            <p:custDataLst>
              <p:tags r:id="rId1"/>
            </p:custDataLst>
            <p:extLst>
              <p:ext uri="{D42A27DB-BD31-4B8C-83A1-F6EECF244321}">
                <p14:modId xmlns:p14="http://schemas.microsoft.com/office/powerpoint/2010/main" val="153617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E1C6FF-E548-464E-82D1-2B01BF97600D}"/>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7" name="Picture 16">
            <a:extLst>
              <a:ext uri="{FF2B5EF4-FFF2-40B4-BE49-F238E27FC236}">
                <a16:creationId xmlns:a16="http://schemas.microsoft.com/office/drawing/2014/main" id="{93741D63-9146-408E-8173-2590D59CA67D}"/>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8" name="Overlay">
            <a:extLst>
              <a:ext uri="{FF2B5EF4-FFF2-40B4-BE49-F238E27FC236}">
                <a16:creationId xmlns:a16="http://schemas.microsoft.com/office/drawing/2014/main" id="{E359B5DB-6EEB-4CA8-B11C-C4BA425C1F0F}"/>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0669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9D1803-DD6C-47EA-925F-5C664DF4D81B}"/>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5" name="Picture 14">
            <a:extLst>
              <a:ext uri="{FF2B5EF4-FFF2-40B4-BE49-F238E27FC236}">
                <a16:creationId xmlns:a16="http://schemas.microsoft.com/office/drawing/2014/main" id="{B68D9E5F-7F9D-43CD-99C5-CF5AEFDA4FFB}"/>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B0B0919C-4FFD-4344-A198-C0B2B3E0E517}"/>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83FDF4-1C13-4432-9614-B86791DD55AF}"/>
              </a:ext>
            </a:extLst>
          </p:cNvPr>
          <p:cNvGraphicFramePr>
            <a:graphicFrameLocks noChangeAspect="1"/>
          </p:cNvGraphicFramePr>
          <p:nvPr userDrawn="1">
            <p:custDataLst>
              <p:tags r:id="rId1"/>
            </p:custDataLst>
            <p:extLst>
              <p:ext uri="{D42A27DB-BD31-4B8C-83A1-F6EECF244321}">
                <p14:modId xmlns:p14="http://schemas.microsoft.com/office/powerpoint/2010/main" val="209747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7EFFFD8-506B-4111-855B-60D73BE4AA91}"/>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a:extLst>
              <a:ext uri="{FF2B5EF4-FFF2-40B4-BE49-F238E27FC236}">
                <a16:creationId xmlns:a16="http://schemas.microsoft.com/office/drawing/2014/main" id="{1D50770D-8939-4921-9B43-5BCF0D856040}"/>
              </a:ext>
            </a:extLst>
          </p:cNvPr>
          <p:cNvPicPr>
            <a:picLocks noChangeAspect="1"/>
          </p:cNvPicPr>
          <p:nvPr userDrawn="1"/>
        </p:nvPicPr>
        <p:blipFill>
          <a:blip r:embed="rId7"/>
          <a:srcRect l="13" t="19" r="66455"/>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13" name="Overlay">
            <a:extLst>
              <a:ext uri="{FF2B5EF4-FFF2-40B4-BE49-F238E27FC236}">
                <a16:creationId xmlns:a16="http://schemas.microsoft.com/office/drawing/2014/main" id="{8E09979B-F2DF-498E-BF53-BB5C633022A3}"/>
              </a:ext>
            </a:extLst>
          </p:cNvPr>
          <p:cNvSpPr/>
          <p:nvPr userDrawn="1">
            <p:custDataLst>
              <p:tags r:id="rId3"/>
            </p:custDataLst>
          </p:nvPr>
        </p:nvSpPr>
        <p:spPr>
          <a:xfrm>
            <a:off x="1524" y="1310"/>
            <a:ext cx="4088312" cy="6856690"/>
          </a:xfrm>
          <a:prstGeom prst="homePlate">
            <a:avLst>
              <a:gd name="adj" fmla="val 19557"/>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0" name="Graphic 9">
            <a:extLst>
              <a:ext uri="{FF2B5EF4-FFF2-40B4-BE49-F238E27FC236}">
                <a16:creationId xmlns:a16="http://schemas.microsoft.com/office/drawing/2014/main" id="{0E1A7035-7D3A-4CBC-AC28-937F538451B5}"/>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37363" t="43832" r="15615"/>
          <a:stretch/>
        </p:blipFill>
        <p:spPr>
          <a:xfrm rot="5400000">
            <a:off x="4414443" y="-919556"/>
            <a:ext cx="6858000" cy="8697111"/>
          </a:xfrm>
          <a:prstGeom prst="rect">
            <a:avLst/>
          </a:prstGeom>
        </p:spPr>
      </p:pic>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BFC38E-B4F4-4414-99C8-D0CDC41EF374}"/>
              </a:ext>
            </a:extLst>
          </p:cNvPr>
          <p:cNvGraphicFramePr>
            <a:graphicFrameLocks noChangeAspect="1"/>
          </p:cNvGraphicFramePr>
          <p:nvPr userDrawn="1">
            <p:custDataLst>
              <p:tags r:id="rId1"/>
            </p:custDataLst>
            <p:extLst>
              <p:ext uri="{D42A27DB-BD31-4B8C-83A1-F6EECF244321}">
                <p14:modId xmlns:p14="http://schemas.microsoft.com/office/powerpoint/2010/main" val="1203685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21DF92-5E54-45DF-BF9C-563BD06949E6}"/>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DF2A79C2-53BB-4402-B909-B0F6E1B88A75}"/>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7A6ABB71-BAF7-4BBB-A0C6-CF779B47E099}"/>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A03568-8C1E-4D1B-B53D-974C98D9E051}"/>
              </a:ext>
            </a:extLst>
          </p:cNvPr>
          <p:cNvGraphicFramePr>
            <a:graphicFrameLocks noChangeAspect="1"/>
          </p:cNvGraphicFramePr>
          <p:nvPr userDrawn="1">
            <p:custDataLst>
              <p:tags r:id="rId1"/>
            </p:custDataLst>
            <p:extLst>
              <p:ext uri="{D42A27DB-BD31-4B8C-83A1-F6EECF244321}">
                <p14:modId xmlns:p14="http://schemas.microsoft.com/office/powerpoint/2010/main" val="214639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AFDECB-0DAE-4848-8638-7A18013A448A}"/>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Graphic 9">
            <a:extLst>
              <a:ext uri="{FF2B5EF4-FFF2-40B4-BE49-F238E27FC236}">
                <a16:creationId xmlns:a16="http://schemas.microsoft.com/office/drawing/2014/main" id="{55CF3AB4-A533-430B-8130-0030529B47B7}"/>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37363" t="43832" r="15615"/>
          <a:stretch/>
        </p:blipFill>
        <p:spPr>
          <a:xfrm rot="5400000">
            <a:off x="4414443" y="-919556"/>
            <a:ext cx="6858000" cy="8697111"/>
          </a:xfrm>
          <a:prstGeom prst="rect">
            <a:avLst/>
          </a:prstGeom>
        </p:spPr>
      </p:pic>
      <p:pic>
        <p:nvPicPr>
          <p:cNvPr id="11" name="Picture 10">
            <a:extLst>
              <a:ext uri="{FF2B5EF4-FFF2-40B4-BE49-F238E27FC236}">
                <a16:creationId xmlns:a16="http://schemas.microsoft.com/office/drawing/2014/main" id="{BDADF549-360D-4CAF-9973-D8A7FE3039DB}"/>
              </a:ext>
            </a:extLst>
          </p:cNvPr>
          <p:cNvPicPr>
            <a:picLocks noChangeAspect="1"/>
          </p:cNvPicPr>
          <p:nvPr userDrawn="1"/>
        </p:nvPicPr>
        <p:blipFill>
          <a:blip r:embed="rId10"/>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7" name="Overlay">
            <a:extLst>
              <a:ext uri="{FF2B5EF4-FFF2-40B4-BE49-F238E27FC236}">
                <a16:creationId xmlns:a16="http://schemas.microsoft.com/office/drawing/2014/main" id="{19E3E548-BBBD-4611-9AB2-B1D2736E6B9F}"/>
              </a:ext>
            </a:extLst>
          </p:cNvPr>
          <p:cNvSpPr/>
          <p:nvPr userDrawn="1">
            <p:custDataLst>
              <p:tags r:id="rId3"/>
            </p:custDataLst>
          </p:nvPr>
        </p:nvSpPr>
        <p:spPr>
          <a:xfrm>
            <a:off x="1" y="0"/>
            <a:ext cx="5426920" cy="6858000"/>
          </a:xfrm>
          <a:prstGeom prst="homePlate">
            <a:avLst>
              <a:gd name="adj" fmla="val 13025"/>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828F9F-9D82-4291-9BA0-C13038588EB6}"/>
              </a:ext>
            </a:extLst>
          </p:cNvPr>
          <p:cNvGraphicFramePr>
            <a:graphicFrameLocks noChangeAspect="1"/>
          </p:cNvGraphicFramePr>
          <p:nvPr userDrawn="1">
            <p:custDataLst>
              <p:tags r:id="rId1"/>
            </p:custDataLst>
            <p:extLst>
              <p:ext uri="{D42A27DB-BD31-4B8C-83A1-F6EECF244321}">
                <p14:modId xmlns:p14="http://schemas.microsoft.com/office/powerpoint/2010/main" val="41315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B08409-D5E8-45E3-B86A-4DEC26567D21}"/>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3F0E43A4-042E-4B53-B724-5521C6914274}"/>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C6053E5F-A0FB-4533-AC20-8806FC5C4B0E}"/>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B6DB0D-D75A-4B12-A278-F40BF9E23EEB}"/>
              </a:ext>
            </a:extLst>
          </p:cNvPr>
          <p:cNvGraphicFramePr>
            <a:graphicFrameLocks noChangeAspect="1"/>
          </p:cNvGraphicFramePr>
          <p:nvPr userDrawn="1">
            <p:custDataLst>
              <p:tags r:id="rId1"/>
            </p:custDataLst>
            <p:extLst>
              <p:ext uri="{D42A27DB-BD31-4B8C-83A1-F6EECF244321}">
                <p14:modId xmlns:p14="http://schemas.microsoft.com/office/powerpoint/2010/main" val="150683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7C47DBC-7BF6-4382-8736-C5AB9C64768E}"/>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E36BEFBA-7680-4E43-B87B-4A038E3F2F16}"/>
              </a:ext>
            </a:extLst>
          </p:cNvPr>
          <p:cNvPicPr>
            <a:picLocks noChangeAspect="1"/>
          </p:cNvPicPr>
          <p:nvPr userDrawn="1"/>
        </p:nvPicPr>
        <p:blipFill>
          <a:blip r:embed="rId7"/>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16" name="Overlay">
            <a:extLst>
              <a:ext uri="{FF2B5EF4-FFF2-40B4-BE49-F238E27FC236}">
                <a16:creationId xmlns:a16="http://schemas.microsoft.com/office/drawing/2014/main" id="{E13A233A-15BF-4EFA-8126-CC6A34C84AD4}"/>
              </a:ext>
            </a:extLst>
          </p:cNvPr>
          <p:cNvSpPr/>
          <p:nvPr userDrawn="1">
            <p:custDataLst>
              <p:tags r:id="rId3"/>
            </p:custDataLst>
          </p:nvPr>
        </p:nvSpPr>
        <p:spPr>
          <a:xfrm>
            <a:off x="0" y="0"/>
            <a:ext cx="6363546" cy="6858000"/>
          </a:xfrm>
          <a:prstGeom prst="homePlate">
            <a:avLst>
              <a:gd name="adj" fmla="val 13079"/>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8904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719C14DC-995F-43D8-964D-BD81E1911DDA}"/>
              </a:ext>
            </a:extLst>
          </p:cNvPr>
          <p:cNvPicPr>
            <a:picLocks noChangeAspect="1"/>
          </p:cNvPicPr>
          <p:nvPr userDrawn="1"/>
        </p:nvPicPr>
        <p:blipFill>
          <a:blip r:embed="rId6"/>
          <a:stretch>
            <a:fillRect/>
          </a:stretch>
        </p:blipFill>
        <p:spPr>
          <a:xfrm>
            <a:off x="0" y="17249"/>
            <a:ext cx="12192000" cy="4160520"/>
          </a:xfrm>
          <a:prstGeom prst="rect">
            <a:avLst/>
          </a:prstGeom>
        </p:spPr>
      </p:pic>
      <p:sp>
        <p:nvSpPr>
          <p:cNvPr id="14" name="Rectangle 13">
            <a:extLst>
              <a:ext uri="{FF2B5EF4-FFF2-40B4-BE49-F238E27FC236}">
                <a16:creationId xmlns:a16="http://schemas.microsoft.com/office/drawing/2014/main" id="{3A39AEA0-2E69-4739-B268-4E17AAFCB76D}"/>
              </a:ext>
            </a:extLst>
          </p:cNvPr>
          <p:cNvSpPr/>
          <p:nvPr userDrawn="1"/>
        </p:nvSpPr>
        <p:spPr>
          <a:xfrm>
            <a:off x="0" y="4146977"/>
            <a:ext cx="12192000" cy="2711023"/>
          </a:xfrm>
          <a:prstGeom prst="rect">
            <a:avLst/>
          </a:prstGeom>
          <a:solidFill>
            <a:srgbClr val="0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itle 1"/>
          <p:cNvSpPr>
            <a:spLocks noGrp="1"/>
          </p:cNvSpPr>
          <p:nvPr>
            <p:ph type="ctrTitle" hasCustomPrompt="1"/>
          </p:nvPr>
        </p:nvSpPr>
        <p:spPr bwMode="ltGray">
          <a:xfrm>
            <a:off x="628649" y="4575067"/>
            <a:ext cx="10934700" cy="430887"/>
          </a:xfrm>
          <a:prstGeom prst="rect">
            <a:avLst/>
          </a:prstGeom>
        </p:spPr>
        <p:txBody>
          <a:bodyPr anchor="ctr">
            <a:noAutofit/>
          </a:bodyPr>
          <a:lstStyle>
            <a:lvl1pPr algn="l">
              <a:lnSpc>
                <a:spcPct val="93000"/>
              </a:lnSpc>
              <a:defRPr sz="2400" baseline="0">
                <a:solidFill>
                  <a:schemeClr val="bg1"/>
                </a:solidFill>
                <a:latin typeface="+mj-lt"/>
                <a:sym typeface="Trebuchet MS" panose="020B0603020202020204" pitchFamily="34" charset="0"/>
              </a:defRPr>
            </a:lvl1pPr>
          </a:lstStyle>
          <a:p>
            <a:r>
              <a:rPr lang="en-US" dirty="0"/>
              <a:t>Title in Title Case</a:t>
            </a:r>
          </a:p>
        </p:txBody>
      </p:sp>
      <p:sp>
        <p:nvSpPr>
          <p:cNvPr id="18" name="Rectangle 17">
            <a:extLst>
              <a:ext uri="{FF2B5EF4-FFF2-40B4-BE49-F238E27FC236}">
                <a16:creationId xmlns:a16="http://schemas.microsoft.com/office/drawing/2014/main" id="{BC333491-99AB-423C-B006-B73425B0423A}"/>
              </a:ext>
            </a:extLst>
          </p:cNvPr>
          <p:cNvSpPr/>
          <p:nvPr userDrawn="1"/>
        </p:nvSpPr>
        <p:spPr>
          <a:xfrm rot="5400000" flipH="1">
            <a:off x="685800" y="3452685"/>
            <a:ext cx="182880" cy="155448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TextBox 9">
            <a:extLst>
              <a:ext uri="{FF2B5EF4-FFF2-40B4-BE49-F238E27FC236}">
                <a16:creationId xmlns:a16="http://schemas.microsoft.com/office/drawing/2014/main" id="{4D1CD8B2-F327-4C1E-8EE3-D42F791C29AE}"/>
              </a:ext>
            </a:extLst>
          </p:cNvPr>
          <p:cNvSpPr txBox="1"/>
          <p:nvPr userDrawn="1"/>
        </p:nvSpPr>
        <p:spPr>
          <a:xfrm>
            <a:off x="628649" y="3152004"/>
            <a:ext cx="169302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0" dirty="0">
                <a:solidFill>
                  <a:schemeClr val="bg1"/>
                </a:solidFill>
                <a:cs typeface="Henderson BCG Mod" panose="02060703040403060203" pitchFamily="18" charset="0"/>
              </a:rPr>
              <a:t>02</a:t>
            </a:r>
          </a:p>
        </p:txBody>
      </p:sp>
    </p:spTree>
    <p:extLst>
      <p:ext uri="{BB962C8B-B14F-4D97-AF65-F5344CB8AC3E}">
        <p14:creationId xmlns:p14="http://schemas.microsoft.com/office/powerpoint/2010/main" val="2285284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6F43BA-B582-4575-9AF1-366C83B8580B}"/>
              </a:ext>
            </a:extLst>
          </p:cNvPr>
          <p:cNvGraphicFramePr>
            <a:graphicFrameLocks noChangeAspect="1"/>
          </p:cNvGraphicFramePr>
          <p:nvPr userDrawn="1">
            <p:custDataLst>
              <p:tags r:id="rId1"/>
            </p:custDataLst>
            <p:extLst>
              <p:ext uri="{D42A27DB-BD31-4B8C-83A1-F6EECF244321}">
                <p14:modId xmlns:p14="http://schemas.microsoft.com/office/powerpoint/2010/main" val="240846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F075E2-642E-4325-9E66-4930EFEDBC36}"/>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a:extLst>
              <a:ext uri="{FF2B5EF4-FFF2-40B4-BE49-F238E27FC236}">
                <a16:creationId xmlns:a16="http://schemas.microsoft.com/office/drawing/2014/main" id="{C0FBDA20-C9DC-490C-B1AF-42F96353E628}"/>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6" name="Overlay">
            <a:extLst>
              <a:ext uri="{FF2B5EF4-FFF2-40B4-BE49-F238E27FC236}">
                <a16:creationId xmlns:a16="http://schemas.microsoft.com/office/drawing/2014/main" id="{39A16FE0-C37D-4E2D-877C-84FB5D36C2BA}"/>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E8EFCA-0E21-4B49-B34E-BC35016B178D}"/>
              </a:ext>
            </a:extLst>
          </p:cNvPr>
          <p:cNvGraphicFramePr>
            <a:graphicFrameLocks noChangeAspect="1"/>
          </p:cNvGraphicFramePr>
          <p:nvPr userDrawn="1">
            <p:custDataLst>
              <p:tags r:id="rId1"/>
            </p:custDataLst>
            <p:extLst>
              <p:ext uri="{D42A27DB-BD31-4B8C-83A1-F6EECF244321}">
                <p14:modId xmlns:p14="http://schemas.microsoft.com/office/powerpoint/2010/main" val="187092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3E3434-BBCC-4475-8477-FF9EB1965B5A}"/>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a:extLst>
              <a:ext uri="{FF2B5EF4-FFF2-40B4-BE49-F238E27FC236}">
                <a16:creationId xmlns:a16="http://schemas.microsoft.com/office/drawing/2014/main" id="{4D6136C3-1D16-4A7C-8BC5-58B7CEF66A43}"/>
              </a:ext>
            </a:extLst>
          </p:cNvPr>
          <p:cNvPicPr>
            <a:picLocks noChangeAspect="1"/>
          </p:cNvPicPr>
          <p:nvPr userDrawn="1"/>
        </p:nvPicPr>
        <p:blipFill>
          <a:blip r:embed="rId7"/>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13" name="Overlay">
            <a:extLst>
              <a:ext uri="{FF2B5EF4-FFF2-40B4-BE49-F238E27FC236}">
                <a16:creationId xmlns:a16="http://schemas.microsoft.com/office/drawing/2014/main" id="{5EDC5827-1340-42CE-99BF-F086005D193A}"/>
              </a:ext>
            </a:extLst>
          </p:cNvPr>
          <p:cNvSpPr/>
          <p:nvPr userDrawn="1">
            <p:custDataLst>
              <p:tags r:id="rId3"/>
            </p:custDataLst>
          </p:nvPr>
        </p:nvSpPr>
        <p:spPr>
          <a:xfrm>
            <a:off x="1" y="0"/>
            <a:ext cx="8446239" cy="6858000"/>
          </a:xfrm>
          <a:prstGeom prst="homePlate">
            <a:avLst>
              <a:gd name="adj" fmla="val 11852"/>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3258E0-E680-40B2-B152-E8DEDB6012ED}"/>
              </a:ext>
            </a:extLst>
          </p:cNvPr>
          <p:cNvGraphicFramePr>
            <a:graphicFrameLocks noChangeAspect="1"/>
          </p:cNvGraphicFramePr>
          <p:nvPr userDrawn="1">
            <p:custDataLst>
              <p:tags r:id="rId1"/>
            </p:custDataLst>
            <p:extLst>
              <p:ext uri="{D42A27DB-BD31-4B8C-83A1-F6EECF244321}">
                <p14:modId xmlns:p14="http://schemas.microsoft.com/office/powerpoint/2010/main" val="270834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D0900A-DB23-4781-BC80-DBE2D7D853D8}"/>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2" name="Picture 11">
            <a:extLst>
              <a:ext uri="{FF2B5EF4-FFF2-40B4-BE49-F238E27FC236}">
                <a16:creationId xmlns:a16="http://schemas.microsoft.com/office/drawing/2014/main" id="{CCA7D341-F309-4F0A-A1EC-D9FA3D2ED85F}"/>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3" name="Overlay">
            <a:extLst>
              <a:ext uri="{FF2B5EF4-FFF2-40B4-BE49-F238E27FC236}">
                <a16:creationId xmlns:a16="http://schemas.microsoft.com/office/drawing/2014/main" id="{7E9916CF-26D4-47DA-9B75-B86E995805A3}"/>
              </a:ext>
            </a:extLst>
          </p:cNvPr>
          <p:cNvSpPr/>
          <p:nvPr userDrawn="1">
            <p:custDataLst>
              <p:tags r:id="rId3"/>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D0DCA1-102F-45A7-9826-5EB7EE404555}"/>
              </a:ext>
            </a:extLst>
          </p:cNvPr>
          <p:cNvGraphicFramePr>
            <a:graphicFrameLocks noChangeAspect="1"/>
          </p:cNvGraphicFramePr>
          <p:nvPr userDrawn="1">
            <p:custDataLst>
              <p:tags r:id="rId1"/>
            </p:custDataLst>
            <p:extLst>
              <p:ext uri="{D42A27DB-BD31-4B8C-83A1-F6EECF244321}">
                <p14:modId xmlns:p14="http://schemas.microsoft.com/office/powerpoint/2010/main" val="4018848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A53465-CD2F-448E-BCD4-A411B2476B90}"/>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pic>
        <p:nvPicPr>
          <p:cNvPr id="10" name="Graphic 9">
            <a:extLst>
              <a:ext uri="{FF2B5EF4-FFF2-40B4-BE49-F238E27FC236}">
                <a16:creationId xmlns:a16="http://schemas.microsoft.com/office/drawing/2014/main" id="{9EEC48D4-A87E-489F-A3BA-25639ADD1340}"/>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1767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6E0533C-DD8A-4DD3-ABA2-0A72E64194B6}"/>
              </a:ext>
            </a:extLst>
          </p:cNvPr>
          <p:cNvPicPr>
            <a:picLocks noChangeAspect="1"/>
          </p:cNvPicPr>
          <p:nvPr userDrawn="1"/>
        </p:nvPicPr>
        <p:blipFill>
          <a:blip r:embed="rId6"/>
          <a:stretch>
            <a:fillRect/>
          </a:stretch>
        </p:blipFill>
        <p:spPr>
          <a:xfrm>
            <a:off x="-2" y="0"/>
            <a:ext cx="12192000" cy="6858000"/>
          </a:xfrm>
          <a:prstGeom prst="rect">
            <a:avLst/>
          </a:prstGeom>
        </p:spPr>
      </p:pic>
      <p:sp>
        <p:nvSpPr>
          <p:cNvPr id="9" name="Overlay">
            <a:extLst>
              <a:ext uri="{FF2B5EF4-FFF2-40B4-BE49-F238E27FC236}">
                <a16:creationId xmlns:a16="http://schemas.microsoft.com/office/drawing/2014/main" id="{7FFC4AF9-A300-44F1-94B0-949D0CD0EB66}"/>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A23369-6267-4380-BAB2-B35B122C16ED}"/>
              </a:ext>
            </a:extLst>
          </p:cNvPr>
          <p:cNvGraphicFramePr>
            <a:graphicFrameLocks noChangeAspect="1"/>
          </p:cNvGraphicFramePr>
          <p:nvPr userDrawn="1">
            <p:custDataLst>
              <p:tags r:id="rId1"/>
            </p:custDataLst>
            <p:extLst>
              <p:ext uri="{D42A27DB-BD31-4B8C-83A1-F6EECF244321}">
                <p14:modId xmlns:p14="http://schemas.microsoft.com/office/powerpoint/2010/main" val="1772777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690D6AC5-78D8-45EA-B8CA-2F2B4CDE3720}"/>
              </a:ext>
            </a:extLst>
          </p:cNvPr>
          <p:cNvPicPr>
            <a:picLocks noChangeAspect="1"/>
          </p:cNvPicPr>
          <p:nvPr userDrawn="1"/>
        </p:nvPicPr>
        <p:blipFill>
          <a:blip r:embed="rId6"/>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59F4385F-A29B-4A13-9F40-7EC2AF0421D4}"/>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5DED99-0FCE-46CB-A425-7ED72701001B}"/>
              </a:ext>
            </a:extLst>
          </p:cNvPr>
          <p:cNvGraphicFramePr>
            <a:graphicFrameLocks noChangeAspect="1"/>
          </p:cNvGraphicFramePr>
          <p:nvPr userDrawn="1">
            <p:custDataLst>
              <p:tags r:id="rId1"/>
            </p:custDataLst>
            <p:extLst>
              <p:ext uri="{D42A27DB-BD31-4B8C-83A1-F6EECF244321}">
                <p14:modId xmlns:p14="http://schemas.microsoft.com/office/powerpoint/2010/main" val="369933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A09E7A9-25F8-438F-AA54-097986F364AD}"/>
              </a:ext>
            </a:extLst>
          </p:cNvPr>
          <p:cNvPicPr>
            <a:picLocks noChangeAspect="1"/>
          </p:cNvPicPr>
          <p:nvPr userDrawn="1"/>
        </p:nvPicPr>
        <p:blipFill>
          <a:blip r:embed="rId6"/>
          <a:stretch>
            <a:fillRect/>
          </a:stretch>
        </p:blipFill>
        <p:spPr>
          <a:xfrm>
            <a:off x="-2" y="0"/>
            <a:ext cx="12192000" cy="6858000"/>
          </a:xfrm>
          <a:prstGeom prst="rect">
            <a:avLst/>
          </a:prstGeom>
        </p:spPr>
      </p:pic>
      <p:sp>
        <p:nvSpPr>
          <p:cNvPr id="10" name="Overlay">
            <a:extLst>
              <a:ext uri="{FF2B5EF4-FFF2-40B4-BE49-F238E27FC236}">
                <a16:creationId xmlns:a16="http://schemas.microsoft.com/office/drawing/2014/main" id="{C20056AA-F681-4888-8C37-AD918DDD3D75}"/>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82AC34-7719-402F-8A19-D09055839ABA}"/>
              </a:ext>
            </a:extLst>
          </p:cNvPr>
          <p:cNvGraphicFramePr>
            <a:graphicFrameLocks noChangeAspect="1"/>
          </p:cNvGraphicFramePr>
          <p:nvPr userDrawn="1">
            <p:custDataLst>
              <p:tags r:id="rId1"/>
            </p:custDataLst>
            <p:extLst>
              <p:ext uri="{D42A27DB-BD31-4B8C-83A1-F6EECF244321}">
                <p14:modId xmlns:p14="http://schemas.microsoft.com/office/powerpoint/2010/main" val="2329519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952778ED-EC5B-451F-B4B6-C3D0D52EC95F}"/>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37363" t="43832" r="15615"/>
          <a:stretch/>
        </p:blipFill>
        <p:spPr>
          <a:xfrm rot="5400000">
            <a:off x="4414443" y="-919556"/>
            <a:ext cx="6858000" cy="8697111"/>
          </a:xfrm>
          <a:prstGeom prst="rect">
            <a:avLst/>
          </a:prstGeom>
        </p:spPr>
      </p:pic>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99D07A-555B-4D8D-8202-C0E345450830}"/>
              </a:ext>
            </a:extLst>
          </p:cNvPr>
          <p:cNvGraphicFramePr>
            <a:graphicFrameLocks noChangeAspect="1"/>
          </p:cNvGraphicFramePr>
          <p:nvPr userDrawn="1">
            <p:custDataLst>
              <p:tags r:id="rId1"/>
            </p:custDataLst>
            <p:extLst>
              <p:ext uri="{D42A27DB-BD31-4B8C-83A1-F6EECF244321}">
                <p14:modId xmlns:p14="http://schemas.microsoft.com/office/powerpoint/2010/main" val="236758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DAC76571-C0CC-45E2-B4DF-281DFF268A84}"/>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37363" t="43832" r="15615"/>
          <a:stretch/>
        </p:blipFill>
        <p:spPr>
          <a:xfrm rot="5400000">
            <a:off x="4414443" y="-919556"/>
            <a:ext cx="6858000" cy="8697111"/>
          </a:xfrm>
          <a:prstGeom prst="rect">
            <a:avLst/>
          </a:prstGeom>
        </p:spPr>
      </p:pic>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D4FC4-6968-483A-90C0-A48FAB106002}"/>
              </a:ext>
            </a:extLst>
          </p:cNvPr>
          <p:cNvGraphicFramePr>
            <a:graphicFrameLocks noChangeAspect="1"/>
          </p:cNvGraphicFramePr>
          <p:nvPr userDrawn="1">
            <p:custDataLst>
              <p:tags r:id="rId1"/>
            </p:custDataLst>
            <p:extLst>
              <p:ext uri="{D42A27DB-BD31-4B8C-83A1-F6EECF244321}">
                <p14:modId xmlns:p14="http://schemas.microsoft.com/office/powerpoint/2010/main" val="38508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E5578D-7649-43A9-9984-103171FEDB8A}"/>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1B7A6F0-D389-48F1-AAEE-4E7C1340F4B9}"/>
              </a:ext>
            </a:extLst>
          </p:cNvPr>
          <p:cNvPicPr>
            <a:picLocks noChangeAspect="1"/>
          </p:cNvPicPr>
          <p:nvPr userDrawn="1"/>
        </p:nvPicPr>
        <p:blipFill>
          <a:blip r:embed="rId5">
            <a:extLst>
              <a:ext uri="{BEBA8EAE-BF5A-486C-A8C5-ECC9F3942E4B}">
                <a14:imgProps xmlns:a14="http://schemas.microsoft.com/office/drawing/2010/main">
                  <a14:imgLayer r:embed="rId6">
                    <a14:imgEffect>
                      <a14:colorTemperature colorTemp="11200"/>
                    </a14:imgEffect>
                  </a14:imgLayer>
                </a14:imgProps>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4B042359-1EF6-43C3-925D-00F6F5606EDA}"/>
              </a:ext>
            </a:extLst>
          </p:cNvPr>
          <p:cNvSpPr/>
          <p:nvPr userDrawn="1"/>
        </p:nvSpPr>
        <p:spPr>
          <a:xfrm>
            <a:off x="-1" y="0"/>
            <a:ext cx="12192000" cy="6858000"/>
          </a:xfrm>
          <a:prstGeom prst="rect">
            <a:avLst/>
          </a:prstGeom>
          <a:solidFill>
            <a:srgbClr val="000000">
              <a:alpha val="6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2" name="Picture 11" descr="Text&#10;&#10;Description automatically generated">
            <a:extLst>
              <a:ext uri="{FF2B5EF4-FFF2-40B4-BE49-F238E27FC236}">
                <a16:creationId xmlns:a16="http://schemas.microsoft.com/office/drawing/2014/main" id="{64809D0D-9FE5-4FE1-BD07-1E1D9A97FA1A}"/>
              </a:ext>
            </a:extLst>
          </p:cNvPr>
          <p:cNvPicPr>
            <a:picLocks noChangeAspect="1"/>
          </p:cNvPicPr>
          <p:nvPr userDrawn="1"/>
        </p:nvPicPr>
        <p:blipFill rotWithShape="1">
          <a:blip r:embed="rId7">
            <a:clrChange>
              <a:clrFrom>
                <a:srgbClr val="040707"/>
              </a:clrFrom>
              <a:clrTo>
                <a:srgbClr val="040707">
                  <a:alpha val="0"/>
                </a:srgbClr>
              </a:clrTo>
            </a:clrChange>
          </a:blip>
          <a:srcRect r="1718" b="51704"/>
          <a:stretch/>
        </p:blipFill>
        <p:spPr>
          <a:xfrm>
            <a:off x="261808" y="2775944"/>
            <a:ext cx="5041845" cy="2235649"/>
          </a:xfrm>
          <a:prstGeom prst="rect">
            <a:avLst/>
          </a:prstGeom>
        </p:spPr>
      </p:pic>
      <p:sp>
        <p:nvSpPr>
          <p:cNvPr id="13" name="Rectangle 12">
            <a:extLst>
              <a:ext uri="{FF2B5EF4-FFF2-40B4-BE49-F238E27FC236}">
                <a16:creationId xmlns:a16="http://schemas.microsoft.com/office/drawing/2014/main" id="{413F3245-DA7C-4CDD-9F5F-0C6C183F339B}"/>
              </a:ext>
            </a:extLst>
          </p:cNvPr>
          <p:cNvSpPr/>
          <p:nvPr userDrawn="1"/>
        </p:nvSpPr>
        <p:spPr>
          <a:xfrm flipH="1">
            <a:off x="0" y="2518416"/>
            <a:ext cx="182880" cy="2658104"/>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07419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0DCB426D-00A3-4D69-B954-511F90530F51}"/>
              </a:ext>
            </a:extLst>
          </p:cNvPr>
          <p:cNvPicPr>
            <a:picLocks noChangeAspect="1"/>
          </p:cNvPicPr>
          <p:nvPr userDrawn="1"/>
        </p:nvPicPr>
        <p:blipFill>
          <a:blip r:embed="rId5"/>
          <a:stretch>
            <a:fillRect/>
          </a:stretch>
        </p:blipFill>
        <p:spPr>
          <a:xfrm>
            <a:off x="-1" y="0"/>
            <a:ext cx="12208043" cy="6890084"/>
          </a:xfrm>
          <a:prstGeom prst="rect">
            <a:avLst/>
          </a:prstGeom>
        </p:spPr>
      </p:pic>
      <p:sp>
        <p:nvSpPr>
          <p:cNvPr id="9" name="Rectangle 8">
            <a:extLst>
              <a:ext uri="{FF2B5EF4-FFF2-40B4-BE49-F238E27FC236}">
                <a16:creationId xmlns:a16="http://schemas.microsoft.com/office/drawing/2014/main" id="{F8CDF4CF-360C-4399-BE3B-8CC7CA1D35D2}"/>
              </a:ext>
            </a:extLst>
          </p:cNvPr>
          <p:cNvSpPr/>
          <p:nvPr userDrawn="1"/>
        </p:nvSpPr>
        <p:spPr>
          <a:xfrm>
            <a:off x="-1" y="-13587"/>
            <a:ext cx="12208043" cy="6871587"/>
          </a:xfrm>
          <a:prstGeom prst="rect">
            <a:avLst/>
          </a:prstGeom>
          <a:solidFill>
            <a:srgbClr val="000000">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0" name="Picture 9" descr="Text&#10;&#10;Description automatically generated">
            <a:extLst>
              <a:ext uri="{FF2B5EF4-FFF2-40B4-BE49-F238E27FC236}">
                <a16:creationId xmlns:a16="http://schemas.microsoft.com/office/drawing/2014/main" id="{6BCA901B-0297-4F9A-A445-86BF620DF36D}"/>
              </a:ext>
            </a:extLst>
          </p:cNvPr>
          <p:cNvPicPr>
            <a:picLocks noChangeAspect="1"/>
          </p:cNvPicPr>
          <p:nvPr userDrawn="1"/>
        </p:nvPicPr>
        <p:blipFill rotWithShape="1">
          <a:blip r:embed="rId6">
            <a:clrChange>
              <a:clrFrom>
                <a:srgbClr val="040707"/>
              </a:clrFrom>
              <a:clrTo>
                <a:srgbClr val="040707">
                  <a:alpha val="0"/>
                </a:srgbClr>
              </a:clrTo>
            </a:clrChange>
          </a:blip>
          <a:srcRect r="1718" b="51704"/>
          <a:stretch/>
        </p:blipFill>
        <p:spPr>
          <a:xfrm>
            <a:off x="53262" y="3003326"/>
            <a:ext cx="5041845" cy="2235649"/>
          </a:xfrm>
          <a:prstGeom prst="rect">
            <a:avLst/>
          </a:prstGeom>
        </p:spPr>
      </p:pic>
    </p:spTree>
    <p:extLst>
      <p:ext uri="{BB962C8B-B14F-4D97-AF65-F5344CB8AC3E}">
        <p14:creationId xmlns:p14="http://schemas.microsoft.com/office/powerpoint/2010/main" val="659444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0000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103F3696-5C99-48F2-A92E-339FEF538746}"/>
              </a:ext>
            </a:extLst>
          </p:cNvPr>
          <p:cNvPicPr>
            <a:picLocks noChangeAspect="1"/>
          </p:cNvPicPr>
          <p:nvPr userDrawn="1"/>
        </p:nvPicPr>
        <p:blipFill>
          <a:blip r:embed="rId7"/>
          <a:stretch>
            <a:fillRect/>
          </a:stretch>
        </p:blipFill>
        <p:spPr>
          <a:xfrm>
            <a:off x="-2" y="0"/>
            <a:ext cx="12192000" cy="6858000"/>
          </a:xfrm>
          <a:prstGeom prst="rect">
            <a:avLst/>
          </a:prstGeom>
        </p:spPr>
      </p:pic>
      <p:sp>
        <p:nvSpPr>
          <p:cNvPr id="14" name="Overlay">
            <a:extLst>
              <a:ext uri="{FF2B5EF4-FFF2-40B4-BE49-F238E27FC236}">
                <a16:creationId xmlns:a16="http://schemas.microsoft.com/office/drawing/2014/main" id="{0B873776-7DFA-4966-A19C-A7E8BED8FC58}"/>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62793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0BF250A5-4BC3-4667-8931-E0FC7797AC4E}"/>
              </a:ext>
            </a:extLst>
          </p:cNvPr>
          <p:cNvPicPr>
            <a:picLocks noChangeAspect="1"/>
          </p:cNvPicPr>
          <p:nvPr userDrawn="1"/>
        </p:nvPicPr>
        <p:blipFill>
          <a:blip r:embed="rId6"/>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74B95AEE-9507-4168-8312-D131D3B468CB}"/>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506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265965-8C85-4414-A3E5-EBD1DD25BE4C}"/>
              </a:ext>
            </a:extLst>
          </p:cNvPr>
          <p:cNvPicPr>
            <a:picLocks noChangeAspect="1"/>
          </p:cNvPicPr>
          <p:nvPr userDrawn="1"/>
        </p:nvPicPr>
        <p:blipFill>
          <a:blip r:embed="rId6"/>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97C964AD-FA0D-491C-B2F5-CFB443487C10}"/>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6515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602C396-E5DD-4EB1-A5A7-448F0D1E8034}"/>
              </a:ext>
            </a:extLst>
          </p:cNvPr>
          <p:cNvPicPr>
            <a:picLocks noChangeAspect="1"/>
          </p:cNvPicPr>
          <p:nvPr userDrawn="1"/>
        </p:nvPicPr>
        <p:blipFill>
          <a:blip r:embed="rId6"/>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D8AFA4C7-5C9B-4810-B18E-DC6D6D00B5D5}"/>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pic>
        <p:nvPicPr>
          <p:cNvPr id="12" name="Graphic 11">
            <a:extLst>
              <a:ext uri="{FF2B5EF4-FFF2-40B4-BE49-F238E27FC236}">
                <a16:creationId xmlns:a16="http://schemas.microsoft.com/office/drawing/2014/main" id="{9D5618C0-C151-408B-B3F9-96F2AFA2DB59}"/>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37363" t="43832" r="15615" b="3675"/>
          <a:stretch/>
        </p:blipFill>
        <p:spPr>
          <a:xfrm rot="5400000">
            <a:off x="4698999" y="-635000"/>
            <a:ext cx="6858000" cy="8127999"/>
          </a:xfrm>
          <a:prstGeom prst="rect">
            <a:avLst/>
          </a:prstGeom>
        </p:spPr>
      </p:pic>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41520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EB03F537-EEE5-41B1-B64A-E3B8A570ACDE}"/>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33125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1933747B-4AC1-43C3-BA8C-1B8F3F0F5C64}"/>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37363" t="43832" r="15615"/>
          <a:stretch/>
        </p:blipFill>
        <p:spPr>
          <a:xfrm rot="5400000">
            <a:off x="4414443" y="-919556"/>
            <a:ext cx="6858000" cy="8697111"/>
          </a:xfrm>
          <a:prstGeom prst="rect">
            <a:avLst/>
          </a:prstGeom>
        </p:spPr>
      </p:pic>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5003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2E23CE98-5A45-44D5-B21A-CE2C70359AE1}"/>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37363" t="43832" r="15615"/>
          <a:stretch/>
        </p:blipFill>
        <p:spPr>
          <a:xfrm rot="5400000">
            <a:off x="4414443" y="-919556"/>
            <a:ext cx="6858000" cy="8697111"/>
          </a:xfrm>
          <a:prstGeom prst="rect">
            <a:avLst/>
          </a:prstGeom>
        </p:spPr>
      </p:pic>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D4FC4-6968-483A-90C0-A48FAB106002}"/>
              </a:ext>
            </a:extLst>
          </p:cNvPr>
          <p:cNvGraphicFramePr>
            <a:graphicFrameLocks noChangeAspect="1"/>
          </p:cNvGraphicFramePr>
          <p:nvPr userDrawn="1">
            <p:custDataLst>
              <p:tags r:id="rId1"/>
            </p:custDataLst>
            <p:extLst>
              <p:ext uri="{D42A27DB-BD31-4B8C-83A1-F6EECF244321}">
                <p14:modId xmlns:p14="http://schemas.microsoft.com/office/powerpoint/2010/main" val="2367615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CCCD4FC4-6968-483A-90C0-A48FAB1060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E5578D-7649-43A9-9984-103171FEDB8A}"/>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8" name="Graphic 7">
            <a:extLst>
              <a:ext uri="{FF2B5EF4-FFF2-40B4-BE49-F238E27FC236}">
                <a16:creationId xmlns:a16="http://schemas.microsoft.com/office/drawing/2014/main" id="{A021D436-92FF-4A66-BE5F-4B6C8D5E117E}"/>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278448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864062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1B38D0B-82C9-42F9-8645-0BBCB189E38E}"/>
              </a:ext>
            </a:extLst>
          </p:cNvPr>
          <p:cNvPicPr>
            <a:picLocks noChangeAspect="1"/>
          </p:cNvPicPr>
          <p:nvPr userDrawn="1"/>
        </p:nvPicPr>
        <p:blipFill>
          <a:blip r:embed="rId6"/>
          <a:stretch>
            <a:fillRect/>
          </a:stretch>
        </p:blipFill>
        <p:spPr>
          <a:xfrm>
            <a:off x="-2" y="0"/>
            <a:ext cx="12192000" cy="6858000"/>
          </a:xfrm>
          <a:prstGeom prst="rect">
            <a:avLst/>
          </a:prstGeom>
        </p:spPr>
      </p:pic>
      <p:sp>
        <p:nvSpPr>
          <p:cNvPr id="12" name="Overlay">
            <a:extLst>
              <a:ext uri="{FF2B5EF4-FFF2-40B4-BE49-F238E27FC236}">
                <a16:creationId xmlns:a16="http://schemas.microsoft.com/office/drawing/2014/main" id="{88DC7E14-CA83-4901-8FA7-5E26ED537A29}"/>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pic>
        <p:nvPicPr>
          <p:cNvPr id="11" name="Graphic 10">
            <a:extLst>
              <a:ext uri="{FF2B5EF4-FFF2-40B4-BE49-F238E27FC236}">
                <a16:creationId xmlns:a16="http://schemas.microsoft.com/office/drawing/2014/main" id="{507E1A5D-58E3-4FB3-A7A6-2323DFC786C1}"/>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37363" t="43832" r="15615" b="3511"/>
          <a:stretch/>
        </p:blipFill>
        <p:spPr>
          <a:xfrm rot="5400000">
            <a:off x="4686299" y="-647700"/>
            <a:ext cx="6858000" cy="8153399"/>
          </a:xfrm>
          <a:prstGeom prst="rect">
            <a:avLst/>
          </a:prstGeom>
        </p:spPr>
      </p:pic>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56783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CC013CC-4979-4CC1-B6A8-428AB658F58E}"/>
              </a:ext>
            </a:extLst>
          </p:cNvPr>
          <p:cNvPicPr>
            <a:picLocks noChangeAspect="1"/>
          </p:cNvPicPr>
          <p:nvPr userDrawn="1"/>
        </p:nvPicPr>
        <p:blipFill>
          <a:blip r:embed="rId6"/>
          <a:stretch>
            <a:fillRect/>
          </a:stretch>
        </p:blipFill>
        <p:spPr>
          <a:xfrm>
            <a:off x="-2" y="0"/>
            <a:ext cx="12192000" cy="6858000"/>
          </a:xfrm>
          <a:prstGeom prst="rect">
            <a:avLst/>
          </a:prstGeom>
        </p:spPr>
      </p:pic>
      <p:sp>
        <p:nvSpPr>
          <p:cNvPr id="11" name="Overlay">
            <a:extLst>
              <a:ext uri="{FF2B5EF4-FFF2-40B4-BE49-F238E27FC236}">
                <a16:creationId xmlns:a16="http://schemas.microsoft.com/office/drawing/2014/main" id="{F4422104-F14A-4EA1-B11A-447AADA54829}"/>
              </a:ext>
            </a:extLst>
          </p:cNvPr>
          <p:cNvSpPr/>
          <p:nvPr userDrawn="1">
            <p:custDataLst>
              <p:tags r:id="rId2"/>
            </p:custDataLst>
          </p:nvPr>
        </p:nvSpPr>
        <p:spPr>
          <a:xfrm>
            <a:off x="-2"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3F6D8C-92C7-40F9-BF9E-4C8E2E179111}"/>
              </a:ext>
            </a:extLst>
          </p:cNvPr>
          <p:cNvGraphicFramePr>
            <a:graphicFrameLocks noChangeAspect="1"/>
          </p:cNvGraphicFramePr>
          <p:nvPr userDrawn="1">
            <p:custDataLst>
              <p:tags r:id="rId1"/>
            </p:custDataLst>
            <p:extLst>
              <p:ext uri="{D42A27DB-BD31-4B8C-83A1-F6EECF244321}">
                <p14:modId xmlns:p14="http://schemas.microsoft.com/office/powerpoint/2010/main" val="2859378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CBACDA-C8C8-475D-9BBE-7EF511168E33}"/>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 name="Graphic 5">
            <a:extLst>
              <a:ext uri="{FF2B5EF4-FFF2-40B4-BE49-F238E27FC236}">
                <a16:creationId xmlns:a16="http://schemas.microsoft.com/office/drawing/2014/main" id="{EAC71BEF-7AF7-4B8B-82EE-C79DBCA1905F}"/>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37363" t="43832" r="15615"/>
          <a:stretch/>
        </p:blipFill>
        <p:spPr>
          <a:xfrm rot="5400000">
            <a:off x="4414443" y="-919556"/>
            <a:ext cx="6858000" cy="8697111"/>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chemeClr val="tx2"/>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solidFill>
                  <a:schemeClr val="tx2"/>
                </a:solidFill>
              </a:defRPr>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tags" Target="../tags/tag3.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extLst>
              <p:ext uri="{D42A27DB-BD31-4B8C-83A1-F6EECF244321}">
                <p14:modId xmlns:p14="http://schemas.microsoft.com/office/powerpoint/2010/main" val="8167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5" imgW="270" imgH="270" progId="TCLayout.ActiveDocument.1">
                  <p:embed/>
                </p:oleObj>
              </mc:Choice>
              <mc:Fallback>
                <p:oleObj name="think-cell Slide" r:id="rId85" imgW="270" imgH="270" progId="TCLayout.ActiveDocument.1">
                  <p:embed/>
                  <p:pic>
                    <p:nvPicPr>
                      <p:cNvPr id="0" name=""/>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BEFBF3A-05EA-4502-B66F-8E5CF10C7199}"/>
              </a:ext>
            </a:extLst>
          </p:cNvPr>
          <p:cNvSpPr/>
          <p:nvPr userDrawn="1">
            <p:custDataLst>
              <p:tags r:id="rId8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187" r:id="rId4"/>
    <p:sldLayoutId id="2147485188" r:id="rId5"/>
    <p:sldLayoutId id="2147485189" r:id="rId6"/>
    <p:sldLayoutId id="2147485086" r:id="rId7"/>
    <p:sldLayoutId id="2147485192" r:id="rId8"/>
    <p:sldLayoutId id="2147485183" r:id="rId9"/>
    <p:sldLayoutId id="2147485158" r:id="rId10"/>
    <p:sldLayoutId id="2147485113" r:id="rId11"/>
    <p:sldLayoutId id="2147485114" r:id="rId12"/>
    <p:sldLayoutId id="2147485154" r:id="rId13"/>
    <p:sldLayoutId id="2147485162" r:id="rId14"/>
    <p:sldLayoutId id="2147485149" r:id="rId15"/>
    <p:sldLayoutId id="2147485087" r:id="rId16"/>
    <p:sldLayoutId id="2147485112" r:id="rId17"/>
    <p:sldLayoutId id="2147485155" r:id="rId18"/>
    <p:sldLayoutId id="2147485164" r:id="rId19"/>
    <p:sldLayoutId id="2147485109" r:id="rId20"/>
    <p:sldLayoutId id="2147485165" r:id="rId21"/>
    <p:sldLayoutId id="2147485110" r:id="rId22"/>
    <p:sldLayoutId id="2147485166" r:id="rId23"/>
    <p:sldLayoutId id="2147485156" r:id="rId24"/>
    <p:sldLayoutId id="2147485167" r:id="rId25"/>
    <p:sldLayoutId id="2147485108" r:id="rId26"/>
    <p:sldLayoutId id="2147485107" r:id="rId27"/>
    <p:sldLayoutId id="2147485106" r:id="rId28"/>
    <p:sldLayoutId id="2147485090" r:id="rId29"/>
    <p:sldLayoutId id="2147485091" r:id="rId30"/>
    <p:sldLayoutId id="2147485092" r:id="rId31"/>
    <p:sldLayoutId id="2147485093" r:id="rId32"/>
    <p:sldLayoutId id="2147485116" r:id="rId33"/>
    <p:sldLayoutId id="2147485191" r:id="rId34"/>
    <p:sldLayoutId id="2147485161" r:id="rId35"/>
    <p:sldLayoutId id="2147485159" r:id="rId36"/>
    <p:sldLayoutId id="2147485194" r:id="rId37"/>
    <p:sldLayoutId id="2147485195" r:id="rId38"/>
    <p:sldLayoutId id="2147485196" r:id="rId39"/>
    <p:sldLayoutId id="2147485197" r:id="rId40"/>
    <p:sldLayoutId id="2147485198" r:id="rId41"/>
    <p:sldLayoutId id="2147485119" r:id="rId42"/>
    <p:sldLayoutId id="2147485193" r:id="rId43"/>
    <p:sldLayoutId id="2147485184" r:id="rId44"/>
    <p:sldLayoutId id="2147485137" r:id="rId45"/>
    <p:sldLayoutId id="2147485120" r:id="rId46"/>
    <p:sldLayoutId id="2147485121" r:id="rId47"/>
    <p:sldLayoutId id="2147485141" r:id="rId48"/>
    <p:sldLayoutId id="2147485163" r:id="rId49"/>
    <p:sldLayoutId id="2147485139" r:id="rId50"/>
    <p:sldLayoutId id="2147485140" r:id="rId51"/>
    <p:sldLayoutId id="2147485122" r:id="rId52"/>
    <p:sldLayoutId id="2147485123" r:id="rId53"/>
    <p:sldLayoutId id="2147485151" r:id="rId54"/>
    <p:sldLayoutId id="2147485168" r:id="rId55"/>
    <p:sldLayoutId id="2147485127" r:id="rId56"/>
    <p:sldLayoutId id="2147485169" r:id="rId57"/>
    <p:sldLayoutId id="2147485126" r:id="rId58"/>
    <p:sldLayoutId id="2147485170" r:id="rId59"/>
    <p:sldLayoutId id="2147485153" r:id="rId60"/>
    <p:sldLayoutId id="2147485171" r:id="rId61"/>
    <p:sldLayoutId id="2147485128" r:id="rId62"/>
    <p:sldLayoutId id="2147485129" r:id="rId63"/>
    <p:sldLayoutId id="2147485130" r:id="rId64"/>
    <p:sldLayoutId id="2147485131" r:id="rId65"/>
    <p:sldLayoutId id="2147485145" r:id="rId66"/>
    <p:sldLayoutId id="2147485133" r:id="rId67"/>
    <p:sldLayoutId id="2147485144" r:id="rId68"/>
    <p:sldLayoutId id="2147485134" r:id="rId69"/>
    <p:sldLayoutId id="2147485146" r:id="rId70"/>
    <p:sldLayoutId id="2147485190" r:id="rId71"/>
    <p:sldLayoutId id="2147485160" r:id="rId72"/>
    <p:sldLayoutId id="2147485172" r:id="rId73"/>
    <p:sldLayoutId id="2147485173" r:id="rId74"/>
    <p:sldLayoutId id="2147485174" r:id="rId75"/>
    <p:sldLayoutId id="2147485175" r:id="rId76"/>
    <p:sldLayoutId id="2147485176" r:id="rId77"/>
    <p:sldLayoutId id="2147485177" r:id="rId78"/>
    <p:sldLayoutId id="2147485178" r:id="rId79"/>
    <p:sldLayoutId id="2147485179" r:id="rId80"/>
    <p:sldLayoutId id="2147485180"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xml"/><Relationship Id="rId1" Type="http://schemas.openxmlformats.org/officeDocument/2006/relationships/tags" Target="../tags/tag180.x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16.xml"/><Relationship Id="rId1" Type="http://schemas.openxmlformats.org/officeDocument/2006/relationships/tags" Target="../tags/tag205.xml"/><Relationship Id="rId5" Type="http://schemas.openxmlformats.org/officeDocument/2006/relationships/image" Target="../media/image24.jp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8.xml"/><Relationship Id="rId7" Type="http://schemas.openxmlformats.org/officeDocument/2006/relationships/image" Target="../media/image17.emf"/><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oleObject" Target="../embeddings/oleObject88.bin"/><Relationship Id="rId5" Type="http://schemas.openxmlformats.org/officeDocument/2006/relationships/notesSlide" Target="../notesSlides/notesSlide5.xml"/><Relationship Id="rId4" Type="http://schemas.openxmlformats.org/officeDocument/2006/relationships/slideLayout" Target="../slideLayouts/slideLayout42.xml"/><Relationship Id="rId9" Type="http://schemas.openxmlformats.org/officeDocument/2006/relationships/image" Target="../media/image10.svg"/></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11.xml"/><Relationship Id="rId7" Type="http://schemas.openxmlformats.org/officeDocument/2006/relationships/image" Target="../media/image17.emf"/><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oleObject" Target="../embeddings/oleObject89.bin"/><Relationship Id="rId5" Type="http://schemas.openxmlformats.org/officeDocument/2006/relationships/notesSlide" Target="../notesSlides/notesSlide6.xml"/><Relationship Id="rId4" Type="http://schemas.openxmlformats.org/officeDocument/2006/relationships/slideLayout" Target="../slideLayouts/slideLayout42.xml"/><Relationship Id="rId9" Type="http://schemas.openxmlformats.org/officeDocument/2006/relationships/image" Target="../media/image10.svg"/></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14.xml"/><Relationship Id="rId7" Type="http://schemas.openxmlformats.org/officeDocument/2006/relationships/image" Target="../media/image17.emf"/><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oleObject" Target="../embeddings/oleObject90.bin"/><Relationship Id="rId5" Type="http://schemas.openxmlformats.org/officeDocument/2006/relationships/notesSlide" Target="../notesSlides/notesSlide7.xml"/><Relationship Id="rId4" Type="http://schemas.openxmlformats.org/officeDocument/2006/relationships/slideLayout" Target="../slideLayouts/slideLayout42.xml"/><Relationship Id="rId9" Type="http://schemas.openxmlformats.org/officeDocument/2006/relationships/image" Target="../media/image10.svg"/></Relationships>
</file>

<file path=ppt/slides/_rels/slide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17.xml"/><Relationship Id="rId7" Type="http://schemas.openxmlformats.org/officeDocument/2006/relationships/image" Target="../media/image17.emf"/><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oleObject" Target="../embeddings/oleObject91.bin"/><Relationship Id="rId5" Type="http://schemas.openxmlformats.org/officeDocument/2006/relationships/notesSlide" Target="../notesSlides/notesSlide8.xml"/><Relationship Id="rId4" Type="http://schemas.openxmlformats.org/officeDocument/2006/relationships/slideLayout" Target="../slideLayouts/slideLayout42.xml"/><Relationship Id="rId9" Type="http://schemas.openxmlformats.org/officeDocument/2006/relationships/image" Target="../media/image10.svg"/></Relationships>
</file>

<file path=ppt/slides/_rels/slide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20.xml"/><Relationship Id="rId7" Type="http://schemas.openxmlformats.org/officeDocument/2006/relationships/image" Target="../media/image17.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oleObject" Target="../embeddings/oleObject92.bin"/><Relationship Id="rId5" Type="http://schemas.openxmlformats.org/officeDocument/2006/relationships/notesSlide" Target="../notesSlides/notesSlide9.xml"/><Relationship Id="rId4" Type="http://schemas.openxmlformats.org/officeDocument/2006/relationships/slideLayout" Target="../slideLayouts/slideLayout42.xml"/><Relationship Id="rId9" Type="http://schemas.openxmlformats.org/officeDocument/2006/relationships/image" Target="../media/image10.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221.xml"/><Relationship Id="rId5" Type="http://schemas.openxmlformats.org/officeDocument/2006/relationships/image" Target="../media/image21.emf"/><Relationship Id="rId4" Type="http://schemas.openxmlformats.org/officeDocument/2006/relationships/oleObject" Target="../embeddings/oleObject93.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16.xml"/><Relationship Id="rId1" Type="http://schemas.openxmlformats.org/officeDocument/2006/relationships/tags" Target="../tags/tag222.xml"/><Relationship Id="rId5" Type="http://schemas.openxmlformats.org/officeDocument/2006/relationships/image" Target="../media/image24.jp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25.xml"/><Relationship Id="rId7" Type="http://schemas.openxmlformats.org/officeDocument/2006/relationships/image" Target="../media/image17.emf"/><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oleObject" Target="../embeddings/oleObject95.bin"/><Relationship Id="rId5" Type="http://schemas.openxmlformats.org/officeDocument/2006/relationships/notesSlide" Target="../notesSlides/notesSlide11.xml"/><Relationship Id="rId4" Type="http://schemas.openxmlformats.org/officeDocument/2006/relationships/slideLayout" Target="../slideLayouts/slideLayout42.xml"/><Relationship Id="rId9" Type="http://schemas.openxmlformats.org/officeDocument/2006/relationships/image" Target="../media/image10.svg"/></Relationships>
</file>

<file path=ppt/slides/_rels/slide1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28.xml"/><Relationship Id="rId7" Type="http://schemas.openxmlformats.org/officeDocument/2006/relationships/image" Target="../media/image17.emf"/><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oleObject" Target="../embeddings/oleObject96.bin"/><Relationship Id="rId5" Type="http://schemas.openxmlformats.org/officeDocument/2006/relationships/notesSlide" Target="../notesSlides/notesSlide12.xml"/><Relationship Id="rId4" Type="http://schemas.openxmlformats.org/officeDocument/2006/relationships/slideLayout" Target="../slideLayouts/slideLayout42.xml"/><Relationship Id="rId9" Type="http://schemas.openxmlformats.org/officeDocument/2006/relationships/image" Target="../media/image10.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1.xml"/><Relationship Id="rId1" Type="http://schemas.openxmlformats.org/officeDocument/2006/relationships/tags" Target="../tags/tag181.xml"/><Relationship Id="rId6" Type="http://schemas.openxmlformats.org/officeDocument/2006/relationships/image" Target="../media/image19.jpeg"/><Relationship Id="rId5" Type="http://schemas.openxmlformats.org/officeDocument/2006/relationships/image" Target="../media/image18.emf"/><Relationship Id="rId4" Type="http://schemas.openxmlformats.org/officeDocument/2006/relationships/oleObject" Target="../embeddings/oleObject79.bin"/></Relationships>
</file>

<file path=ppt/slides/_rels/slide2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31.xml"/><Relationship Id="rId7" Type="http://schemas.openxmlformats.org/officeDocument/2006/relationships/image" Target="../media/image17.emf"/><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oleObject" Target="../embeddings/oleObject97.bin"/><Relationship Id="rId5" Type="http://schemas.openxmlformats.org/officeDocument/2006/relationships/notesSlide" Target="../notesSlides/notesSlide13.xml"/><Relationship Id="rId4" Type="http://schemas.openxmlformats.org/officeDocument/2006/relationships/slideLayout" Target="../slideLayouts/slideLayout42.xml"/><Relationship Id="rId9" Type="http://schemas.openxmlformats.org/officeDocument/2006/relationships/image" Target="../media/image10.sv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15.xml"/><Relationship Id="rId1" Type="http://schemas.openxmlformats.org/officeDocument/2006/relationships/tags" Target="../tags/tag232.xml"/><Relationship Id="rId4" Type="http://schemas.openxmlformats.org/officeDocument/2006/relationships/image" Target="../media/image8.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233.xml"/><Relationship Id="rId5" Type="http://schemas.openxmlformats.org/officeDocument/2006/relationships/image" Target="../media/image21.emf"/><Relationship Id="rId4" Type="http://schemas.openxmlformats.org/officeDocument/2006/relationships/oleObject" Target="../embeddings/oleObject99.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6.xml"/><Relationship Id="rId1" Type="http://schemas.openxmlformats.org/officeDocument/2006/relationships/tags" Target="../tags/tag234.xml"/><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20.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oleObject" Target="../embeddings/oleObject80.bin"/><Relationship Id="rId5" Type="http://schemas.openxmlformats.org/officeDocument/2006/relationships/tags" Target="../tags/tag186.xml"/><Relationship Id="rId10" Type="http://schemas.openxmlformats.org/officeDocument/2006/relationships/notesSlide" Target="../notesSlides/notesSlide2.xml"/><Relationship Id="rId4" Type="http://schemas.openxmlformats.org/officeDocument/2006/relationships/tags" Target="../tags/tag185.xml"/><Relationship Id="rId9"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21.emf"/><Relationship Id="rId4" Type="http://schemas.openxmlformats.org/officeDocument/2006/relationships/oleObject" Target="../embeddings/oleObject81.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5.xml"/><Relationship Id="rId1" Type="http://schemas.openxmlformats.org/officeDocument/2006/relationships/tags" Target="../tags/tag192.xml"/><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21.emf"/><Relationship Id="rId5" Type="http://schemas.openxmlformats.org/officeDocument/2006/relationships/oleObject" Target="../embeddings/oleObject83.bin"/><Relationship Id="rId4" Type="http://schemas.openxmlformats.org/officeDocument/2006/relationships/image" Target="../media/image22.jp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image" Target="../media/image23.jp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98.xml"/><Relationship Id="rId7" Type="http://schemas.openxmlformats.org/officeDocument/2006/relationships/oleObject" Target="../embeddings/oleObject85.bin"/><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notesSlide" Target="../notesSlides/notesSlide3.xml"/><Relationship Id="rId5" Type="http://schemas.openxmlformats.org/officeDocument/2006/relationships/slideLayout" Target="../slideLayouts/slideLayout15.xml"/><Relationship Id="rId4" Type="http://schemas.openxmlformats.org/officeDocument/2006/relationships/tags" Target="../tags/tag199.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202.xml"/><Relationship Id="rId7" Type="http://schemas.openxmlformats.org/officeDocument/2006/relationships/notesSlide" Target="../notesSlides/notesSlide4.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slideLayout" Target="../slideLayouts/slideLayout15.xml"/><Relationship Id="rId5" Type="http://schemas.openxmlformats.org/officeDocument/2006/relationships/tags" Target="../tags/tag204.xml"/><Relationship Id="rId4" Type="http://schemas.openxmlformats.org/officeDocument/2006/relationships/tags" Target="../tags/tag203.xml"/><Relationship Id="rId9"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1322D6-8FFD-45A7-8C6B-BF09AD8940A7}"/>
              </a:ext>
            </a:extLst>
          </p:cNvPr>
          <p:cNvGraphicFramePr>
            <a:graphicFrameLocks noChangeAspect="1"/>
          </p:cNvGraphicFramePr>
          <p:nvPr>
            <p:custDataLst>
              <p:tags r:id="rId1"/>
            </p:custDataLst>
            <p:extLst>
              <p:ext uri="{D42A27DB-BD31-4B8C-83A1-F6EECF244321}">
                <p14:modId xmlns:p14="http://schemas.microsoft.com/office/powerpoint/2010/main" val="364897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764B447B-A9F2-44E3-9DBB-5092AD87D624}"/>
              </a:ext>
            </a:extLst>
          </p:cNvPr>
          <p:cNvSpPr>
            <a:spLocks noGrp="1"/>
          </p:cNvSpPr>
          <p:nvPr>
            <p:ph type="ctrTitle"/>
          </p:nvPr>
        </p:nvSpPr>
        <p:spPr/>
        <p:txBody>
          <a:bodyPr vert="horz"/>
          <a:lstStyle/>
          <a:p>
            <a:r>
              <a:rPr lang="en-US" dirty="0"/>
              <a:t>Common Challenges</a:t>
            </a:r>
            <a:br>
              <a:rPr lang="en-US" dirty="0"/>
            </a:br>
            <a:r>
              <a:rPr lang="en-US" sz="2400" dirty="0"/>
              <a:t>IU 4.6 Machine Learning</a:t>
            </a:r>
            <a:endParaRPr lang="en-US" dirty="0"/>
          </a:p>
        </p:txBody>
      </p:sp>
      <p:sp>
        <p:nvSpPr>
          <p:cNvPr id="8" name="Text Placeholder 7">
            <a:extLst>
              <a:ext uri="{FF2B5EF4-FFF2-40B4-BE49-F238E27FC236}">
                <a16:creationId xmlns:a16="http://schemas.microsoft.com/office/drawing/2014/main" id="{208031C2-5AB3-4A36-898B-7541897BC134}"/>
              </a:ext>
            </a:extLst>
          </p:cNvPr>
          <p:cNvSpPr>
            <a:spLocks noGrp="1"/>
          </p:cNvSpPr>
          <p:nvPr>
            <p:ph type="body" sz="quarter" idx="12"/>
          </p:nvPr>
        </p:nvSpPr>
        <p:spPr>
          <a:xfrm>
            <a:off x="9344639" y="6261931"/>
            <a:ext cx="423193" cy="218971"/>
          </a:xfrm>
        </p:spPr>
        <p:txBody>
          <a:bodyPr/>
          <a:lstStyle/>
          <a:p>
            <a:r>
              <a:rPr lang="en-US" dirty="0"/>
              <a:t>2021</a:t>
            </a:r>
          </a:p>
        </p:txBody>
      </p:sp>
    </p:spTree>
    <p:extLst>
      <p:ext uri="{BB962C8B-B14F-4D97-AF65-F5344CB8AC3E}">
        <p14:creationId xmlns:p14="http://schemas.microsoft.com/office/powerpoint/2010/main" val="873372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0B987F-E2AD-4ACD-BCE1-F9C418059A32}"/>
              </a:ext>
            </a:extLst>
          </p:cNvPr>
          <p:cNvGraphicFramePr>
            <a:graphicFrameLocks noChangeAspect="1"/>
          </p:cNvGraphicFramePr>
          <p:nvPr>
            <p:custDataLst>
              <p:tags r:id="rId1"/>
            </p:custDataLst>
            <p:extLst>
              <p:ext uri="{D42A27DB-BD31-4B8C-83A1-F6EECF244321}">
                <p14:modId xmlns:p14="http://schemas.microsoft.com/office/powerpoint/2010/main" val="1080708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Placeholder 6" descr="A picture containing person, silhouette&#10;&#10;Description automatically generated">
            <a:extLst>
              <a:ext uri="{FF2B5EF4-FFF2-40B4-BE49-F238E27FC236}">
                <a16:creationId xmlns:a16="http://schemas.microsoft.com/office/drawing/2014/main" id="{7C2AB8F3-2D02-4FA1-997A-85778CEF9E95}"/>
              </a:ext>
            </a:extLst>
          </p:cNvPr>
          <p:cNvPicPr>
            <a:picLocks noGrp="1" noChangeAspect="1"/>
          </p:cNvPicPr>
          <p:nvPr>
            <p:ph type="pic" sz="quarter" idx="14"/>
          </p:nvPr>
        </p:nvPicPr>
        <p:blipFill>
          <a:blip r:embed="rId5"/>
          <a:srcRect l="20347" r="20347"/>
          <a:stretch>
            <a:fillRect/>
          </a:stretch>
        </p:blipFill>
        <p:spPr/>
      </p:pic>
      <p:sp>
        <p:nvSpPr>
          <p:cNvPr id="3" name="Title 2">
            <a:extLst>
              <a:ext uri="{FF2B5EF4-FFF2-40B4-BE49-F238E27FC236}">
                <a16:creationId xmlns:a16="http://schemas.microsoft.com/office/drawing/2014/main" id="{867E49CE-ACBE-4722-A8A6-BD804267A7E8}"/>
              </a:ext>
            </a:extLst>
          </p:cNvPr>
          <p:cNvSpPr>
            <a:spLocks noGrp="1"/>
          </p:cNvSpPr>
          <p:nvPr>
            <p:ph type="title"/>
          </p:nvPr>
        </p:nvSpPr>
        <p:spPr>
          <a:xfrm>
            <a:off x="630000" y="1785600"/>
            <a:ext cx="4513500" cy="3286800"/>
          </a:xfrm>
        </p:spPr>
        <p:txBody>
          <a:bodyPr vert="horz"/>
          <a:lstStyle/>
          <a:p>
            <a:r>
              <a:rPr lang="en-US" sz="5400" dirty="0"/>
              <a:t>Pop Quiz</a:t>
            </a:r>
            <a:br>
              <a:rPr lang="en-US" dirty="0"/>
            </a:br>
            <a:br>
              <a:rPr lang="en-US" dirty="0"/>
            </a:br>
            <a:r>
              <a:rPr lang="en-US" sz="2400" dirty="0"/>
              <a:t>Based on the case study discussed, answer multiple-choice questions applying the concepts you have learnt so far in the training</a:t>
            </a:r>
            <a:endParaRPr lang="en-US" sz="3200" dirty="0"/>
          </a:p>
        </p:txBody>
      </p:sp>
      <p:sp>
        <p:nvSpPr>
          <p:cNvPr id="32" name="TextBox 31">
            <a:extLst>
              <a:ext uri="{FF2B5EF4-FFF2-40B4-BE49-F238E27FC236}">
                <a16:creationId xmlns:a16="http://schemas.microsoft.com/office/drawing/2014/main" id="{503C6F3D-3EC3-49E7-A06E-8F5B237D8C65}"/>
              </a:ext>
            </a:extLst>
          </p:cNvPr>
          <p:cNvSpPr txBox="1"/>
          <p:nvPr/>
        </p:nvSpPr>
        <p:spPr>
          <a:xfrm>
            <a:off x="0" y="252156"/>
            <a:ext cx="1133475" cy="386019"/>
          </a:xfrm>
          <a:prstGeom prst="rect">
            <a:avLst/>
          </a:prstGeom>
          <a:solidFill>
            <a:srgbClr val="20B66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15 mins</a:t>
            </a:r>
          </a:p>
        </p:txBody>
      </p:sp>
    </p:spTree>
    <p:extLst>
      <p:ext uri="{BB962C8B-B14F-4D97-AF65-F5344CB8AC3E}">
        <p14:creationId xmlns:p14="http://schemas.microsoft.com/office/powerpoint/2010/main" val="1790389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BBDE9-1E50-4D20-8B59-B57AA78B5249}"/>
              </a:ext>
            </a:extLst>
          </p:cNvPr>
          <p:cNvGraphicFramePr>
            <a:graphicFrameLocks noChangeAspect="1"/>
          </p:cNvGraphicFramePr>
          <p:nvPr>
            <p:custDataLst>
              <p:tags r:id="rId2"/>
            </p:custDataLst>
            <p:extLst>
              <p:ext uri="{D42A27DB-BD31-4B8C-83A1-F6EECF244321}">
                <p14:modId xmlns:p14="http://schemas.microsoft.com/office/powerpoint/2010/main" val="4170802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3" name="Object 2" hidden="1">
                        <a:extLst>
                          <a:ext uri="{FF2B5EF4-FFF2-40B4-BE49-F238E27FC236}">
                            <a16:creationId xmlns:a16="http://schemas.microsoft.com/office/drawing/2014/main" id="{D31BBDE9-1E50-4D20-8B59-B57AA78B52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C09EA2-80EA-47C2-96F8-8EFF178DD37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56203"/>
            <a:ext cx="10933350" cy="387798"/>
          </a:xfrm>
        </p:spPr>
        <p:txBody>
          <a:bodyPr vert="horz"/>
          <a:lstStyle/>
          <a:p>
            <a:r>
              <a:rPr lang="en-US" sz="2800" dirty="0"/>
              <a:t>Pop Quiz Question 1</a:t>
            </a:r>
          </a:p>
        </p:txBody>
      </p:sp>
      <p:sp>
        <p:nvSpPr>
          <p:cNvPr id="10" name="Rectangle 9">
            <a:extLst>
              <a:ext uri="{FF2B5EF4-FFF2-40B4-BE49-F238E27FC236}">
                <a16:creationId xmlns:a16="http://schemas.microsoft.com/office/drawing/2014/main" id="{7E2ADD48-F020-47B3-B70D-97B269215F66}"/>
              </a:ext>
            </a:extLst>
          </p:cNvPr>
          <p:cNvSpPr/>
          <p:nvPr/>
        </p:nvSpPr>
        <p:spPr>
          <a:xfrm>
            <a:off x="630000" y="2659744"/>
            <a:ext cx="8702686"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A. </a:t>
            </a:r>
            <a:r>
              <a:rPr lang="en-SG" dirty="0">
                <a:solidFill>
                  <a:schemeClr val="tx1"/>
                </a:solidFill>
              </a:rPr>
              <a:t>Quality of the underlying data</a:t>
            </a:r>
          </a:p>
        </p:txBody>
      </p:sp>
      <p:sp>
        <p:nvSpPr>
          <p:cNvPr id="11" name="Rectangle 10">
            <a:extLst>
              <a:ext uri="{FF2B5EF4-FFF2-40B4-BE49-F238E27FC236}">
                <a16:creationId xmlns:a16="http://schemas.microsoft.com/office/drawing/2014/main" id="{9F2CC9FD-E789-4347-B1BE-F1F8C98495CE}"/>
              </a:ext>
            </a:extLst>
          </p:cNvPr>
          <p:cNvSpPr/>
          <p:nvPr/>
        </p:nvSpPr>
        <p:spPr>
          <a:xfrm>
            <a:off x="629999" y="4164092"/>
            <a:ext cx="10828575"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C. </a:t>
            </a:r>
            <a:r>
              <a:rPr lang="en-SG" dirty="0">
                <a:solidFill>
                  <a:schemeClr val="tx1"/>
                </a:solidFill>
              </a:rPr>
              <a:t>Infrastructure requirements for build and test</a:t>
            </a:r>
          </a:p>
        </p:txBody>
      </p:sp>
      <p:sp>
        <p:nvSpPr>
          <p:cNvPr id="12" name="Rectangle 11">
            <a:extLst>
              <a:ext uri="{FF2B5EF4-FFF2-40B4-BE49-F238E27FC236}">
                <a16:creationId xmlns:a16="http://schemas.microsoft.com/office/drawing/2014/main" id="{EE442290-B90D-44B8-9B8F-68767AD8C48E}"/>
              </a:ext>
            </a:extLst>
          </p:cNvPr>
          <p:cNvSpPr/>
          <p:nvPr/>
        </p:nvSpPr>
        <p:spPr>
          <a:xfrm>
            <a:off x="630000" y="3411918"/>
            <a:ext cx="10133250"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B. </a:t>
            </a:r>
            <a:r>
              <a:rPr lang="en-US" dirty="0">
                <a:solidFill>
                  <a:schemeClr val="tx1"/>
                </a:solidFill>
              </a:rPr>
              <a:t>Less amount of training data available </a:t>
            </a:r>
          </a:p>
        </p:txBody>
      </p:sp>
      <p:sp>
        <p:nvSpPr>
          <p:cNvPr id="13" name="Rectangle 12">
            <a:extLst>
              <a:ext uri="{FF2B5EF4-FFF2-40B4-BE49-F238E27FC236}">
                <a16:creationId xmlns:a16="http://schemas.microsoft.com/office/drawing/2014/main" id="{20527278-D3C0-4E72-9565-F002FAF3B8D0}"/>
              </a:ext>
            </a:extLst>
          </p:cNvPr>
          <p:cNvSpPr/>
          <p:nvPr/>
        </p:nvSpPr>
        <p:spPr>
          <a:xfrm>
            <a:off x="630000" y="4916265"/>
            <a:ext cx="8702686" cy="6245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D. </a:t>
            </a:r>
            <a:r>
              <a:rPr lang="en-US" dirty="0">
                <a:solidFill>
                  <a:schemeClr val="tx1"/>
                </a:solidFill>
              </a:rPr>
              <a:t>All the above</a:t>
            </a:r>
          </a:p>
        </p:txBody>
      </p:sp>
      <p:sp>
        <p:nvSpPr>
          <p:cNvPr id="15" name="Rectangle 14">
            <a:extLst>
              <a:ext uri="{FF2B5EF4-FFF2-40B4-BE49-F238E27FC236}">
                <a16:creationId xmlns:a16="http://schemas.microsoft.com/office/drawing/2014/main" id="{29A43233-E09C-4F6D-A254-86948031152F}"/>
              </a:ext>
            </a:extLst>
          </p:cNvPr>
          <p:cNvSpPr/>
          <p:nvPr/>
        </p:nvSpPr>
        <p:spPr>
          <a:xfrm>
            <a:off x="629999" y="1659334"/>
            <a:ext cx="11219101" cy="914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dirty="0">
                <a:solidFill>
                  <a:schemeClr val="tx1"/>
                </a:solidFill>
              </a:rPr>
              <a:t>Q1. While starting to build the vessels supply ML model, what challenge do you think was faced during the model development phase?</a:t>
            </a:r>
          </a:p>
        </p:txBody>
      </p:sp>
      <p:sp>
        <p:nvSpPr>
          <p:cNvPr id="17" name="Rectangle 16">
            <a:extLst>
              <a:ext uri="{FF2B5EF4-FFF2-40B4-BE49-F238E27FC236}">
                <a16:creationId xmlns:a16="http://schemas.microsoft.com/office/drawing/2014/main" id="{9CE4C6AF-C6AD-456C-83ED-052CF9A631B4}"/>
              </a:ext>
            </a:extLst>
          </p:cNvPr>
          <p:cNvSpPr/>
          <p:nvPr/>
        </p:nvSpPr>
        <p:spPr>
          <a:xfrm flipH="1">
            <a:off x="0" y="438622"/>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pic>
        <p:nvPicPr>
          <p:cNvPr id="14" name="Graphic 13">
            <a:extLst>
              <a:ext uri="{FF2B5EF4-FFF2-40B4-BE49-F238E27FC236}">
                <a16:creationId xmlns:a16="http://schemas.microsoft.com/office/drawing/2014/main" id="{C719C5AA-4BD1-4BD2-AEDE-70E9373A41C9}"/>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7363" t="43832" r="15615"/>
          <a:stretch/>
        </p:blipFill>
        <p:spPr>
          <a:xfrm rot="5400000">
            <a:off x="4414443" y="-919556"/>
            <a:ext cx="6858000" cy="8697111"/>
          </a:xfrm>
          <a:prstGeom prst="rect">
            <a:avLst/>
          </a:prstGeom>
        </p:spPr>
      </p:pic>
    </p:spTree>
    <p:custDataLst>
      <p:tags r:id="rId1"/>
    </p:custDataLst>
    <p:extLst>
      <p:ext uri="{BB962C8B-B14F-4D97-AF65-F5344CB8AC3E}">
        <p14:creationId xmlns:p14="http://schemas.microsoft.com/office/powerpoint/2010/main" val="347533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BBDE9-1E50-4D20-8B59-B57AA78B5249}"/>
              </a:ext>
            </a:extLst>
          </p:cNvPr>
          <p:cNvGraphicFramePr>
            <a:graphicFrameLocks noChangeAspect="1"/>
          </p:cNvGraphicFramePr>
          <p:nvPr>
            <p:custDataLst>
              <p:tags r:id="rId2"/>
            </p:custDataLst>
            <p:extLst>
              <p:ext uri="{D42A27DB-BD31-4B8C-83A1-F6EECF244321}">
                <p14:modId xmlns:p14="http://schemas.microsoft.com/office/powerpoint/2010/main" val="131756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3" name="Object 2" hidden="1">
                        <a:extLst>
                          <a:ext uri="{FF2B5EF4-FFF2-40B4-BE49-F238E27FC236}">
                            <a16:creationId xmlns:a16="http://schemas.microsoft.com/office/drawing/2014/main" id="{D31BBDE9-1E50-4D20-8B59-B57AA78B52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C09EA2-80EA-47C2-96F8-8EFF178DD37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56203"/>
            <a:ext cx="10933350" cy="387798"/>
          </a:xfrm>
        </p:spPr>
        <p:txBody>
          <a:bodyPr vert="horz"/>
          <a:lstStyle/>
          <a:p>
            <a:r>
              <a:rPr lang="en-US" sz="2800" dirty="0"/>
              <a:t>Pop Quiz Question 2</a:t>
            </a:r>
          </a:p>
        </p:txBody>
      </p:sp>
      <p:sp>
        <p:nvSpPr>
          <p:cNvPr id="10" name="Rectangle 9">
            <a:extLst>
              <a:ext uri="{FF2B5EF4-FFF2-40B4-BE49-F238E27FC236}">
                <a16:creationId xmlns:a16="http://schemas.microsoft.com/office/drawing/2014/main" id="{7E2ADD48-F020-47B3-B70D-97B269215F66}"/>
              </a:ext>
            </a:extLst>
          </p:cNvPr>
          <p:cNvSpPr/>
          <p:nvPr/>
        </p:nvSpPr>
        <p:spPr>
          <a:xfrm>
            <a:off x="630000" y="2659744"/>
            <a:ext cx="8702686"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A. </a:t>
            </a:r>
            <a:r>
              <a:rPr lang="en-SG" dirty="0">
                <a:solidFill>
                  <a:schemeClr val="tx1"/>
                </a:solidFill>
              </a:rPr>
              <a:t>Availability of the test data set</a:t>
            </a:r>
          </a:p>
        </p:txBody>
      </p:sp>
      <p:sp>
        <p:nvSpPr>
          <p:cNvPr id="11" name="Rectangle 10">
            <a:extLst>
              <a:ext uri="{FF2B5EF4-FFF2-40B4-BE49-F238E27FC236}">
                <a16:creationId xmlns:a16="http://schemas.microsoft.com/office/drawing/2014/main" id="{9F2CC9FD-E789-4347-B1BE-F1F8C98495CE}"/>
              </a:ext>
            </a:extLst>
          </p:cNvPr>
          <p:cNvSpPr/>
          <p:nvPr/>
        </p:nvSpPr>
        <p:spPr>
          <a:xfrm>
            <a:off x="629999" y="4164092"/>
            <a:ext cx="10828575"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C. </a:t>
            </a:r>
            <a:r>
              <a:rPr lang="en-SG" dirty="0">
                <a:solidFill>
                  <a:schemeClr val="tx1"/>
                </a:solidFill>
              </a:rPr>
              <a:t>Right </a:t>
            </a:r>
            <a:r>
              <a:rPr lang="en-SG" dirty="0" err="1">
                <a:solidFill>
                  <a:schemeClr val="tx1"/>
                </a:solidFill>
              </a:rPr>
              <a:t>KPIs</a:t>
            </a:r>
            <a:r>
              <a:rPr lang="en-SG" dirty="0">
                <a:solidFill>
                  <a:schemeClr val="tx1"/>
                </a:solidFill>
              </a:rPr>
              <a:t>/Metric to evaluate model accuracy</a:t>
            </a:r>
          </a:p>
        </p:txBody>
      </p:sp>
      <p:sp>
        <p:nvSpPr>
          <p:cNvPr id="12" name="Rectangle 11">
            <a:extLst>
              <a:ext uri="{FF2B5EF4-FFF2-40B4-BE49-F238E27FC236}">
                <a16:creationId xmlns:a16="http://schemas.microsoft.com/office/drawing/2014/main" id="{EE442290-B90D-44B8-9B8F-68767AD8C48E}"/>
              </a:ext>
            </a:extLst>
          </p:cNvPr>
          <p:cNvSpPr/>
          <p:nvPr/>
        </p:nvSpPr>
        <p:spPr>
          <a:xfrm>
            <a:off x="630000" y="3411918"/>
            <a:ext cx="10133250"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B. </a:t>
            </a:r>
            <a:r>
              <a:rPr lang="en-US" dirty="0">
                <a:solidFill>
                  <a:schemeClr val="tx1"/>
                </a:solidFill>
              </a:rPr>
              <a:t>Technical infrastructure to build and test the model</a:t>
            </a:r>
          </a:p>
        </p:txBody>
      </p:sp>
      <p:sp>
        <p:nvSpPr>
          <p:cNvPr id="13" name="Rectangle 12">
            <a:extLst>
              <a:ext uri="{FF2B5EF4-FFF2-40B4-BE49-F238E27FC236}">
                <a16:creationId xmlns:a16="http://schemas.microsoft.com/office/drawing/2014/main" id="{20527278-D3C0-4E72-9565-F002FAF3B8D0}"/>
              </a:ext>
            </a:extLst>
          </p:cNvPr>
          <p:cNvSpPr/>
          <p:nvPr/>
        </p:nvSpPr>
        <p:spPr>
          <a:xfrm>
            <a:off x="630000" y="4916265"/>
            <a:ext cx="8702686" cy="6245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D. </a:t>
            </a:r>
            <a:r>
              <a:rPr lang="en-US" dirty="0">
                <a:solidFill>
                  <a:schemeClr val="tx1"/>
                </a:solidFill>
              </a:rPr>
              <a:t>All the above</a:t>
            </a:r>
          </a:p>
        </p:txBody>
      </p:sp>
      <p:sp>
        <p:nvSpPr>
          <p:cNvPr id="15" name="Rectangle 14">
            <a:extLst>
              <a:ext uri="{FF2B5EF4-FFF2-40B4-BE49-F238E27FC236}">
                <a16:creationId xmlns:a16="http://schemas.microsoft.com/office/drawing/2014/main" id="{29A43233-E09C-4F6D-A254-86948031152F}"/>
              </a:ext>
            </a:extLst>
          </p:cNvPr>
          <p:cNvSpPr/>
          <p:nvPr/>
        </p:nvSpPr>
        <p:spPr>
          <a:xfrm>
            <a:off x="629999" y="1659334"/>
            <a:ext cx="11219101" cy="914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dirty="0">
                <a:solidFill>
                  <a:schemeClr val="tx1"/>
                </a:solidFill>
              </a:rPr>
              <a:t>Q2. During the model testing phase, what do you think was the major challenge faced by the team?</a:t>
            </a:r>
          </a:p>
        </p:txBody>
      </p:sp>
      <p:sp>
        <p:nvSpPr>
          <p:cNvPr id="17" name="Rectangle 16">
            <a:extLst>
              <a:ext uri="{FF2B5EF4-FFF2-40B4-BE49-F238E27FC236}">
                <a16:creationId xmlns:a16="http://schemas.microsoft.com/office/drawing/2014/main" id="{9CE4C6AF-C6AD-456C-83ED-052CF9A631B4}"/>
              </a:ext>
            </a:extLst>
          </p:cNvPr>
          <p:cNvSpPr/>
          <p:nvPr/>
        </p:nvSpPr>
        <p:spPr>
          <a:xfrm flipH="1">
            <a:off x="0" y="438622"/>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pic>
        <p:nvPicPr>
          <p:cNvPr id="14" name="Graphic 13">
            <a:extLst>
              <a:ext uri="{FF2B5EF4-FFF2-40B4-BE49-F238E27FC236}">
                <a16:creationId xmlns:a16="http://schemas.microsoft.com/office/drawing/2014/main" id="{C719C5AA-4BD1-4BD2-AEDE-70E9373A41C9}"/>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7363" t="43832" r="15615"/>
          <a:stretch/>
        </p:blipFill>
        <p:spPr>
          <a:xfrm rot="5400000">
            <a:off x="4414443" y="-919556"/>
            <a:ext cx="6858000" cy="8697111"/>
          </a:xfrm>
          <a:prstGeom prst="rect">
            <a:avLst/>
          </a:prstGeom>
        </p:spPr>
      </p:pic>
    </p:spTree>
    <p:custDataLst>
      <p:tags r:id="rId1"/>
    </p:custDataLst>
    <p:extLst>
      <p:ext uri="{BB962C8B-B14F-4D97-AF65-F5344CB8AC3E}">
        <p14:creationId xmlns:p14="http://schemas.microsoft.com/office/powerpoint/2010/main" val="2361771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BBDE9-1E50-4D20-8B59-B57AA78B5249}"/>
              </a:ext>
            </a:extLst>
          </p:cNvPr>
          <p:cNvGraphicFramePr>
            <a:graphicFrameLocks noChangeAspect="1"/>
          </p:cNvGraphicFramePr>
          <p:nvPr>
            <p:custDataLst>
              <p:tags r:id="rId2"/>
            </p:custDataLst>
            <p:extLst>
              <p:ext uri="{D42A27DB-BD31-4B8C-83A1-F6EECF244321}">
                <p14:modId xmlns:p14="http://schemas.microsoft.com/office/powerpoint/2010/main" val="418890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3" name="Object 2" hidden="1">
                        <a:extLst>
                          <a:ext uri="{FF2B5EF4-FFF2-40B4-BE49-F238E27FC236}">
                            <a16:creationId xmlns:a16="http://schemas.microsoft.com/office/drawing/2014/main" id="{D31BBDE9-1E50-4D20-8B59-B57AA78B52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C09EA2-80EA-47C2-96F8-8EFF178DD37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56203"/>
            <a:ext cx="10933350" cy="387798"/>
          </a:xfrm>
        </p:spPr>
        <p:txBody>
          <a:bodyPr vert="horz"/>
          <a:lstStyle/>
          <a:p>
            <a:r>
              <a:rPr lang="en-US" sz="2800" dirty="0"/>
              <a:t>Pop Quiz Question 3</a:t>
            </a:r>
          </a:p>
        </p:txBody>
      </p:sp>
      <p:sp>
        <p:nvSpPr>
          <p:cNvPr id="10" name="Rectangle 9">
            <a:extLst>
              <a:ext uri="{FF2B5EF4-FFF2-40B4-BE49-F238E27FC236}">
                <a16:creationId xmlns:a16="http://schemas.microsoft.com/office/drawing/2014/main" id="{7E2ADD48-F020-47B3-B70D-97B269215F66}"/>
              </a:ext>
            </a:extLst>
          </p:cNvPr>
          <p:cNvSpPr/>
          <p:nvPr/>
        </p:nvSpPr>
        <p:spPr>
          <a:xfrm>
            <a:off x="630000" y="2659744"/>
            <a:ext cx="8702686"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A. </a:t>
            </a:r>
            <a:r>
              <a:rPr lang="en-SG" dirty="0">
                <a:solidFill>
                  <a:schemeClr val="tx1"/>
                </a:solidFill>
              </a:rPr>
              <a:t>Complex model with high accuracy levels</a:t>
            </a:r>
          </a:p>
        </p:txBody>
      </p:sp>
      <p:sp>
        <p:nvSpPr>
          <p:cNvPr id="11" name="Rectangle 10">
            <a:extLst>
              <a:ext uri="{FF2B5EF4-FFF2-40B4-BE49-F238E27FC236}">
                <a16:creationId xmlns:a16="http://schemas.microsoft.com/office/drawing/2014/main" id="{9F2CC9FD-E789-4347-B1BE-F1F8C98495CE}"/>
              </a:ext>
            </a:extLst>
          </p:cNvPr>
          <p:cNvSpPr/>
          <p:nvPr/>
        </p:nvSpPr>
        <p:spPr>
          <a:xfrm>
            <a:off x="629999" y="4164092"/>
            <a:ext cx="10828575"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C. </a:t>
            </a:r>
            <a:r>
              <a:rPr lang="en-SG" dirty="0">
                <a:solidFill>
                  <a:schemeClr val="tx1"/>
                </a:solidFill>
              </a:rPr>
              <a:t>User friendly web application to visualize model predictions</a:t>
            </a:r>
          </a:p>
        </p:txBody>
      </p:sp>
      <p:sp>
        <p:nvSpPr>
          <p:cNvPr id="12" name="Rectangle 11">
            <a:extLst>
              <a:ext uri="{FF2B5EF4-FFF2-40B4-BE49-F238E27FC236}">
                <a16:creationId xmlns:a16="http://schemas.microsoft.com/office/drawing/2014/main" id="{EE442290-B90D-44B8-9B8F-68767AD8C48E}"/>
              </a:ext>
            </a:extLst>
          </p:cNvPr>
          <p:cNvSpPr/>
          <p:nvPr/>
        </p:nvSpPr>
        <p:spPr>
          <a:xfrm>
            <a:off x="630000" y="3411918"/>
            <a:ext cx="10133250"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B. </a:t>
            </a:r>
            <a:r>
              <a:rPr lang="en-US" dirty="0">
                <a:solidFill>
                  <a:schemeClr val="tx1"/>
                </a:solidFill>
              </a:rPr>
              <a:t>Transparency around the model design and logic i.e., interpretability</a:t>
            </a:r>
          </a:p>
        </p:txBody>
      </p:sp>
      <p:sp>
        <p:nvSpPr>
          <p:cNvPr id="13" name="Rectangle 12">
            <a:extLst>
              <a:ext uri="{FF2B5EF4-FFF2-40B4-BE49-F238E27FC236}">
                <a16:creationId xmlns:a16="http://schemas.microsoft.com/office/drawing/2014/main" id="{20527278-D3C0-4E72-9565-F002FAF3B8D0}"/>
              </a:ext>
            </a:extLst>
          </p:cNvPr>
          <p:cNvSpPr/>
          <p:nvPr/>
        </p:nvSpPr>
        <p:spPr>
          <a:xfrm>
            <a:off x="630000" y="4916265"/>
            <a:ext cx="8702686" cy="6245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D. </a:t>
            </a:r>
            <a:r>
              <a:rPr lang="en-US" dirty="0">
                <a:solidFill>
                  <a:schemeClr val="tx1"/>
                </a:solidFill>
              </a:rPr>
              <a:t>All the above</a:t>
            </a:r>
          </a:p>
        </p:txBody>
      </p:sp>
      <p:sp>
        <p:nvSpPr>
          <p:cNvPr id="15" name="Rectangle 14">
            <a:extLst>
              <a:ext uri="{FF2B5EF4-FFF2-40B4-BE49-F238E27FC236}">
                <a16:creationId xmlns:a16="http://schemas.microsoft.com/office/drawing/2014/main" id="{29A43233-E09C-4F6D-A254-86948031152F}"/>
              </a:ext>
            </a:extLst>
          </p:cNvPr>
          <p:cNvSpPr/>
          <p:nvPr/>
        </p:nvSpPr>
        <p:spPr>
          <a:xfrm>
            <a:off x="629999" y="1659334"/>
            <a:ext cx="11219101" cy="914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dirty="0">
                <a:solidFill>
                  <a:schemeClr val="tx1"/>
                </a:solidFill>
              </a:rPr>
              <a:t>Q3. During the model validation phase with the business i.e., vessels charterers, what do you think was their top preference?</a:t>
            </a:r>
          </a:p>
        </p:txBody>
      </p:sp>
      <p:sp>
        <p:nvSpPr>
          <p:cNvPr id="17" name="Rectangle 16">
            <a:extLst>
              <a:ext uri="{FF2B5EF4-FFF2-40B4-BE49-F238E27FC236}">
                <a16:creationId xmlns:a16="http://schemas.microsoft.com/office/drawing/2014/main" id="{9CE4C6AF-C6AD-456C-83ED-052CF9A631B4}"/>
              </a:ext>
            </a:extLst>
          </p:cNvPr>
          <p:cNvSpPr/>
          <p:nvPr/>
        </p:nvSpPr>
        <p:spPr>
          <a:xfrm flipH="1">
            <a:off x="0" y="438622"/>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pic>
        <p:nvPicPr>
          <p:cNvPr id="14" name="Graphic 13">
            <a:extLst>
              <a:ext uri="{FF2B5EF4-FFF2-40B4-BE49-F238E27FC236}">
                <a16:creationId xmlns:a16="http://schemas.microsoft.com/office/drawing/2014/main" id="{C719C5AA-4BD1-4BD2-AEDE-70E9373A41C9}"/>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7363" t="43832" r="15615"/>
          <a:stretch/>
        </p:blipFill>
        <p:spPr>
          <a:xfrm rot="5400000">
            <a:off x="4414443" y="-919556"/>
            <a:ext cx="6858000" cy="8697111"/>
          </a:xfrm>
          <a:prstGeom prst="rect">
            <a:avLst/>
          </a:prstGeom>
        </p:spPr>
      </p:pic>
    </p:spTree>
    <p:custDataLst>
      <p:tags r:id="rId1"/>
    </p:custDataLst>
    <p:extLst>
      <p:ext uri="{BB962C8B-B14F-4D97-AF65-F5344CB8AC3E}">
        <p14:creationId xmlns:p14="http://schemas.microsoft.com/office/powerpoint/2010/main" val="52903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BBDE9-1E50-4D20-8B59-B57AA78B5249}"/>
              </a:ext>
            </a:extLst>
          </p:cNvPr>
          <p:cNvGraphicFramePr>
            <a:graphicFrameLocks noChangeAspect="1"/>
          </p:cNvGraphicFramePr>
          <p:nvPr>
            <p:custDataLst>
              <p:tags r:id="rId2"/>
            </p:custDataLst>
            <p:extLst>
              <p:ext uri="{D42A27DB-BD31-4B8C-83A1-F6EECF244321}">
                <p14:modId xmlns:p14="http://schemas.microsoft.com/office/powerpoint/2010/main" val="321806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3" name="Object 2" hidden="1">
                        <a:extLst>
                          <a:ext uri="{FF2B5EF4-FFF2-40B4-BE49-F238E27FC236}">
                            <a16:creationId xmlns:a16="http://schemas.microsoft.com/office/drawing/2014/main" id="{D31BBDE9-1E50-4D20-8B59-B57AA78B52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C09EA2-80EA-47C2-96F8-8EFF178DD37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56203"/>
            <a:ext cx="10933350" cy="387798"/>
          </a:xfrm>
        </p:spPr>
        <p:txBody>
          <a:bodyPr vert="horz"/>
          <a:lstStyle/>
          <a:p>
            <a:r>
              <a:rPr lang="en-US" sz="2800" dirty="0"/>
              <a:t>Pop Quiz Question 4</a:t>
            </a:r>
          </a:p>
        </p:txBody>
      </p:sp>
      <p:sp>
        <p:nvSpPr>
          <p:cNvPr id="10" name="Rectangle 9">
            <a:extLst>
              <a:ext uri="{FF2B5EF4-FFF2-40B4-BE49-F238E27FC236}">
                <a16:creationId xmlns:a16="http://schemas.microsoft.com/office/drawing/2014/main" id="{7E2ADD48-F020-47B3-B70D-97B269215F66}"/>
              </a:ext>
            </a:extLst>
          </p:cNvPr>
          <p:cNvSpPr/>
          <p:nvPr/>
        </p:nvSpPr>
        <p:spPr>
          <a:xfrm>
            <a:off x="630000" y="2659744"/>
            <a:ext cx="8702686"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A. </a:t>
            </a:r>
            <a:r>
              <a:rPr lang="en-SG" dirty="0">
                <a:solidFill>
                  <a:schemeClr val="tx1"/>
                </a:solidFill>
              </a:rPr>
              <a:t>Model deployed to production for real time/batch predictions</a:t>
            </a:r>
          </a:p>
        </p:txBody>
      </p:sp>
      <p:sp>
        <p:nvSpPr>
          <p:cNvPr id="12" name="Rectangle 11">
            <a:extLst>
              <a:ext uri="{FF2B5EF4-FFF2-40B4-BE49-F238E27FC236}">
                <a16:creationId xmlns:a16="http://schemas.microsoft.com/office/drawing/2014/main" id="{EE442290-B90D-44B8-9B8F-68767AD8C48E}"/>
              </a:ext>
            </a:extLst>
          </p:cNvPr>
          <p:cNvSpPr/>
          <p:nvPr/>
        </p:nvSpPr>
        <p:spPr>
          <a:xfrm>
            <a:off x="630000" y="3411918"/>
            <a:ext cx="10133250"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B. </a:t>
            </a:r>
            <a:r>
              <a:rPr lang="en-US" dirty="0">
                <a:solidFill>
                  <a:schemeClr val="tx1"/>
                </a:solidFill>
              </a:rPr>
              <a:t>Higher than expected accuracy level</a:t>
            </a:r>
          </a:p>
        </p:txBody>
      </p:sp>
      <p:sp>
        <p:nvSpPr>
          <p:cNvPr id="17" name="Rectangle 16">
            <a:extLst>
              <a:ext uri="{FF2B5EF4-FFF2-40B4-BE49-F238E27FC236}">
                <a16:creationId xmlns:a16="http://schemas.microsoft.com/office/drawing/2014/main" id="{9CE4C6AF-C6AD-456C-83ED-052CF9A631B4}"/>
              </a:ext>
            </a:extLst>
          </p:cNvPr>
          <p:cNvSpPr/>
          <p:nvPr/>
        </p:nvSpPr>
        <p:spPr>
          <a:xfrm flipH="1">
            <a:off x="0" y="438622"/>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sp>
        <p:nvSpPr>
          <p:cNvPr id="16" name="Rectangle 15">
            <a:extLst>
              <a:ext uri="{FF2B5EF4-FFF2-40B4-BE49-F238E27FC236}">
                <a16:creationId xmlns:a16="http://schemas.microsoft.com/office/drawing/2014/main" id="{9C437135-05DE-4041-9D4B-449C9B9BCEFD}"/>
              </a:ext>
            </a:extLst>
          </p:cNvPr>
          <p:cNvSpPr/>
          <p:nvPr/>
        </p:nvSpPr>
        <p:spPr>
          <a:xfrm>
            <a:off x="629999" y="4164092"/>
            <a:ext cx="10828575"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C. </a:t>
            </a:r>
            <a:r>
              <a:rPr lang="en-SG" dirty="0">
                <a:solidFill>
                  <a:schemeClr val="tx1"/>
                </a:solidFill>
              </a:rPr>
              <a:t>Model with high complexity levels</a:t>
            </a:r>
          </a:p>
        </p:txBody>
      </p:sp>
      <p:sp>
        <p:nvSpPr>
          <p:cNvPr id="18" name="Rectangle 17">
            <a:extLst>
              <a:ext uri="{FF2B5EF4-FFF2-40B4-BE49-F238E27FC236}">
                <a16:creationId xmlns:a16="http://schemas.microsoft.com/office/drawing/2014/main" id="{BB6E8F7A-F032-4762-BA56-09934CF08578}"/>
              </a:ext>
            </a:extLst>
          </p:cNvPr>
          <p:cNvSpPr/>
          <p:nvPr/>
        </p:nvSpPr>
        <p:spPr>
          <a:xfrm>
            <a:off x="630000" y="4916265"/>
            <a:ext cx="8702686" cy="6245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D. </a:t>
            </a:r>
            <a:r>
              <a:rPr lang="en-US" dirty="0">
                <a:solidFill>
                  <a:schemeClr val="tx1"/>
                </a:solidFill>
              </a:rPr>
              <a:t>All the above</a:t>
            </a:r>
          </a:p>
        </p:txBody>
      </p:sp>
      <p:sp>
        <p:nvSpPr>
          <p:cNvPr id="20" name="Rectangle 19">
            <a:extLst>
              <a:ext uri="{FF2B5EF4-FFF2-40B4-BE49-F238E27FC236}">
                <a16:creationId xmlns:a16="http://schemas.microsoft.com/office/drawing/2014/main" id="{48786D27-EA46-4916-B136-5A2AF4992F9D}"/>
              </a:ext>
            </a:extLst>
          </p:cNvPr>
          <p:cNvSpPr/>
          <p:nvPr/>
        </p:nvSpPr>
        <p:spPr>
          <a:xfrm>
            <a:off x="629999" y="1659334"/>
            <a:ext cx="11219101" cy="914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dirty="0">
                <a:solidFill>
                  <a:schemeClr val="tx1"/>
                </a:solidFill>
              </a:rPr>
              <a:t>Q4. For a Machine Learning model to deliver high impact to the business, what do you think is the most important factor amongst the ones mentioned below?</a:t>
            </a:r>
          </a:p>
        </p:txBody>
      </p:sp>
      <p:pic>
        <p:nvPicPr>
          <p:cNvPr id="14" name="Graphic 13">
            <a:extLst>
              <a:ext uri="{FF2B5EF4-FFF2-40B4-BE49-F238E27FC236}">
                <a16:creationId xmlns:a16="http://schemas.microsoft.com/office/drawing/2014/main" id="{C719C5AA-4BD1-4BD2-AEDE-70E9373A41C9}"/>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7363" t="43832" r="15615"/>
          <a:stretch/>
        </p:blipFill>
        <p:spPr>
          <a:xfrm rot="5400000">
            <a:off x="4414443" y="-919556"/>
            <a:ext cx="6858000" cy="8697111"/>
          </a:xfrm>
          <a:prstGeom prst="rect">
            <a:avLst/>
          </a:prstGeom>
        </p:spPr>
      </p:pic>
    </p:spTree>
    <p:custDataLst>
      <p:tags r:id="rId1"/>
    </p:custDataLst>
    <p:extLst>
      <p:ext uri="{BB962C8B-B14F-4D97-AF65-F5344CB8AC3E}">
        <p14:creationId xmlns:p14="http://schemas.microsoft.com/office/powerpoint/2010/main" val="1818998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BBDE9-1E50-4D20-8B59-B57AA78B5249}"/>
              </a:ext>
            </a:extLst>
          </p:cNvPr>
          <p:cNvGraphicFramePr>
            <a:graphicFrameLocks noChangeAspect="1"/>
          </p:cNvGraphicFramePr>
          <p:nvPr>
            <p:custDataLst>
              <p:tags r:id="rId2"/>
            </p:custDataLst>
            <p:extLst>
              <p:ext uri="{D42A27DB-BD31-4B8C-83A1-F6EECF244321}">
                <p14:modId xmlns:p14="http://schemas.microsoft.com/office/powerpoint/2010/main" val="296746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3" name="Object 2" hidden="1">
                        <a:extLst>
                          <a:ext uri="{FF2B5EF4-FFF2-40B4-BE49-F238E27FC236}">
                            <a16:creationId xmlns:a16="http://schemas.microsoft.com/office/drawing/2014/main" id="{D31BBDE9-1E50-4D20-8B59-B57AA78B52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C09EA2-80EA-47C2-96F8-8EFF178DD37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56203"/>
            <a:ext cx="10933350" cy="387798"/>
          </a:xfrm>
        </p:spPr>
        <p:txBody>
          <a:bodyPr vert="horz"/>
          <a:lstStyle/>
          <a:p>
            <a:r>
              <a:rPr lang="en-US" sz="2800" dirty="0"/>
              <a:t>Pop Quiz Question 5</a:t>
            </a:r>
          </a:p>
        </p:txBody>
      </p:sp>
      <p:sp>
        <p:nvSpPr>
          <p:cNvPr id="10" name="Rectangle 9">
            <a:extLst>
              <a:ext uri="{FF2B5EF4-FFF2-40B4-BE49-F238E27FC236}">
                <a16:creationId xmlns:a16="http://schemas.microsoft.com/office/drawing/2014/main" id="{7E2ADD48-F020-47B3-B70D-97B269215F66}"/>
              </a:ext>
            </a:extLst>
          </p:cNvPr>
          <p:cNvSpPr/>
          <p:nvPr/>
        </p:nvSpPr>
        <p:spPr>
          <a:xfrm>
            <a:off x="630000" y="2659744"/>
            <a:ext cx="8702686"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A. </a:t>
            </a:r>
            <a:r>
              <a:rPr lang="en-US" dirty="0">
                <a:solidFill>
                  <a:schemeClr val="tx1"/>
                </a:solidFill>
              </a:rPr>
              <a:t>Model accuracy decay caused by broken model pipeline</a:t>
            </a:r>
            <a:endParaRPr lang="en-SG" dirty="0">
              <a:solidFill>
                <a:schemeClr val="tx1"/>
              </a:solidFill>
            </a:endParaRPr>
          </a:p>
        </p:txBody>
      </p:sp>
      <p:sp>
        <p:nvSpPr>
          <p:cNvPr id="11" name="Rectangle 10">
            <a:extLst>
              <a:ext uri="{FF2B5EF4-FFF2-40B4-BE49-F238E27FC236}">
                <a16:creationId xmlns:a16="http://schemas.microsoft.com/office/drawing/2014/main" id="{9F2CC9FD-E789-4347-B1BE-F1F8C98495CE}"/>
              </a:ext>
            </a:extLst>
          </p:cNvPr>
          <p:cNvSpPr/>
          <p:nvPr/>
        </p:nvSpPr>
        <p:spPr>
          <a:xfrm>
            <a:off x="629999" y="4164092"/>
            <a:ext cx="10828575"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C. </a:t>
            </a:r>
            <a:r>
              <a:rPr lang="en-US" dirty="0">
                <a:solidFill>
                  <a:schemeClr val="tx1"/>
                </a:solidFill>
              </a:rPr>
              <a:t>Model decay cause by no</a:t>
            </a:r>
            <a:r>
              <a:rPr lang="en-SG" dirty="0">
                <a:solidFill>
                  <a:schemeClr val="tx1"/>
                </a:solidFill>
              </a:rPr>
              <a:t>n-maintenance of the model</a:t>
            </a:r>
          </a:p>
        </p:txBody>
      </p:sp>
      <p:sp>
        <p:nvSpPr>
          <p:cNvPr id="12" name="Rectangle 11">
            <a:extLst>
              <a:ext uri="{FF2B5EF4-FFF2-40B4-BE49-F238E27FC236}">
                <a16:creationId xmlns:a16="http://schemas.microsoft.com/office/drawing/2014/main" id="{EE442290-B90D-44B8-9B8F-68767AD8C48E}"/>
              </a:ext>
            </a:extLst>
          </p:cNvPr>
          <p:cNvSpPr/>
          <p:nvPr/>
        </p:nvSpPr>
        <p:spPr>
          <a:xfrm>
            <a:off x="630000" y="3411918"/>
            <a:ext cx="10133250"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B. </a:t>
            </a:r>
            <a:r>
              <a:rPr lang="en-US" dirty="0">
                <a:solidFill>
                  <a:schemeClr val="tx1"/>
                </a:solidFill>
              </a:rPr>
              <a:t>ML models never work beyond 6 months, and a new model needs to be built every time</a:t>
            </a:r>
            <a:endParaRPr lang="en-SG" dirty="0">
              <a:solidFill>
                <a:schemeClr val="tx1"/>
              </a:solidFill>
            </a:endParaRPr>
          </a:p>
        </p:txBody>
      </p:sp>
      <p:sp>
        <p:nvSpPr>
          <p:cNvPr id="13" name="Rectangle 12">
            <a:extLst>
              <a:ext uri="{FF2B5EF4-FFF2-40B4-BE49-F238E27FC236}">
                <a16:creationId xmlns:a16="http://schemas.microsoft.com/office/drawing/2014/main" id="{20527278-D3C0-4E72-9565-F002FAF3B8D0}"/>
              </a:ext>
            </a:extLst>
          </p:cNvPr>
          <p:cNvSpPr/>
          <p:nvPr/>
        </p:nvSpPr>
        <p:spPr>
          <a:xfrm>
            <a:off x="630000" y="4916265"/>
            <a:ext cx="8702686" cy="6245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D. </a:t>
            </a:r>
            <a:r>
              <a:rPr lang="en-US" dirty="0">
                <a:solidFill>
                  <a:schemeClr val="tx1"/>
                </a:solidFill>
              </a:rPr>
              <a:t>All the above</a:t>
            </a:r>
          </a:p>
        </p:txBody>
      </p:sp>
      <p:sp>
        <p:nvSpPr>
          <p:cNvPr id="15" name="Rectangle 14">
            <a:extLst>
              <a:ext uri="{FF2B5EF4-FFF2-40B4-BE49-F238E27FC236}">
                <a16:creationId xmlns:a16="http://schemas.microsoft.com/office/drawing/2014/main" id="{29A43233-E09C-4F6D-A254-86948031152F}"/>
              </a:ext>
            </a:extLst>
          </p:cNvPr>
          <p:cNvSpPr/>
          <p:nvPr/>
        </p:nvSpPr>
        <p:spPr>
          <a:xfrm>
            <a:off x="629999" y="1659334"/>
            <a:ext cx="11219101" cy="914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dirty="0">
                <a:solidFill>
                  <a:schemeClr val="tx1"/>
                </a:solidFill>
              </a:rPr>
              <a:t>Q5. For the first six months after deployment, model accuracy was at par of the expected level. For the next six months model accuracy saw a steep decline and reduced by more than half. In most cases, what do you think is the general cause for the decline?</a:t>
            </a:r>
          </a:p>
        </p:txBody>
      </p:sp>
      <p:sp>
        <p:nvSpPr>
          <p:cNvPr id="17" name="Rectangle 16">
            <a:extLst>
              <a:ext uri="{FF2B5EF4-FFF2-40B4-BE49-F238E27FC236}">
                <a16:creationId xmlns:a16="http://schemas.microsoft.com/office/drawing/2014/main" id="{9CE4C6AF-C6AD-456C-83ED-052CF9A631B4}"/>
              </a:ext>
            </a:extLst>
          </p:cNvPr>
          <p:cNvSpPr/>
          <p:nvPr/>
        </p:nvSpPr>
        <p:spPr>
          <a:xfrm flipH="1">
            <a:off x="0" y="438622"/>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pic>
        <p:nvPicPr>
          <p:cNvPr id="14" name="Graphic 13">
            <a:extLst>
              <a:ext uri="{FF2B5EF4-FFF2-40B4-BE49-F238E27FC236}">
                <a16:creationId xmlns:a16="http://schemas.microsoft.com/office/drawing/2014/main" id="{C719C5AA-4BD1-4BD2-AEDE-70E9373A41C9}"/>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7363" t="43832" r="15615"/>
          <a:stretch/>
        </p:blipFill>
        <p:spPr>
          <a:xfrm rot="5400000">
            <a:off x="4414443" y="-919556"/>
            <a:ext cx="6858000" cy="8697111"/>
          </a:xfrm>
          <a:prstGeom prst="rect">
            <a:avLst/>
          </a:prstGeom>
        </p:spPr>
      </p:pic>
    </p:spTree>
    <p:custDataLst>
      <p:tags r:id="rId1"/>
    </p:custDataLst>
    <p:extLst>
      <p:ext uri="{BB962C8B-B14F-4D97-AF65-F5344CB8AC3E}">
        <p14:creationId xmlns:p14="http://schemas.microsoft.com/office/powerpoint/2010/main" val="3410023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AFFE47-8612-4A37-8A53-7BEB8D3E4AC4}"/>
              </a:ext>
            </a:extLst>
          </p:cNvPr>
          <p:cNvGraphicFramePr>
            <a:graphicFrameLocks noChangeAspect="1"/>
          </p:cNvGraphicFramePr>
          <p:nvPr>
            <p:custDataLst>
              <p:tags r:id="rId1"/>
            </p:custDataLst>
            <p:extLst>
              <p:ext uri="{D42A27DB-BD31-4B8C-83A1-F6EECF244321}">
                <p14:modId xmlns:p14="http://schemas.microsoft.com/office/powerpoint/2010/main" val="2920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75FECF-ABF8-499D-BB9E-CCBD9635C000}"/>
              </a:ext>
            </a:extLst>
          </p:cNvPr>
          <p:cNvSpPr>
            <a:spLocks noGrp="1"/>
          </p:cNvSpPr>
          <p:nvPr>
            <p:ph type="title"/>
          </p:nvPr>
        </p:nvSpPr>
        <p:spPr/>
        <p:txBody>
          <a:bodyPr vert="horz"/>
          <a:lstStyle/>
          <a:p>
            <a:r>
              <a:rPr lang="en-US" dirty="0"/>
              <a:t>What did client do to overcome these challenges?</a:t>
            </a:r>
          </a:p>
        </p:txBody>
      </p:sp>
      <p:graphicFrame>
        <p:nvGraphicFramePr>
          <p:cNvPr id="5" name="Table 5">
            <a:extLst>
              <a:ext uri="{FF2B5EF4-FFF2-40B4-BE49-F238E27FC236}">
                <a16:creationId xmlns:a16="http://schemas.microsoft.com/office/drawing/2014/main" id="{976EE7FC-7024-4FAF-BF1C-8E744D54A81C}"/>
              </a:ext>
            </a:extLst>
          </p:cNvPr>
          <p:cNvGraphicFramePr>
            <a:graphicFrameLocks noGrp="1"/>
          </p:cNvGraphicFramePr>
          <p:nvPr>
            <p:extLst>
              <p:ext uri="{D42A27DB-BD31-4B8C-83A1-F6EECF244321}">
                <p14:modId xmlns:p14="http://schemas.microsoft.com/office/powerpoint/2010/main" val="4140998620"/>
              </p:ext>
            </p:extLst>
          </p:nvPr>
        </p:nvGraphicFramePr>
        <p:xfrm>
          <a:off x="628650" y="1503744"/>
          <a:ext cx="10945369" cy="4474464"/>
        </p:xfrm>
        <a:graphic>
          <a:graphicData uri="http://schemas.openxmlformats.org/drawingml/2006/table">
            <a:tbl>
              <a:tblPr firstRow="1">
                <a:tableStyleId>{2D5ABB26-0587-4C30-8999-92F81FD0307C}</a:tableStyleId>
              </a:tblPr>
              <a:tblGrid>
                <a:gridCol w="905281">
                  <a:extLst>
                    <a:ext uri="{9D8B030D-6E8A-4147-A177-3AD203B41FA5}">
                      <a16:colId xmlns:a16="http://schemas.microsoft.com/office/drawing/2014/main" val="3727153478"/>
                    </a:ext>
                  </a:extLst>
                </a:gridCol>
                <a:gridCol w="1746508">
                  <a:extLst>
                    <a:ext uri="{9D8B030D-6E8A-4147-A177-3AD203B41FA5}">
                      <a16:colId xmlns:a16="http://schemas.microsoft.com/office/drawing/2014/main" val="2203054531"/>
                    </a:ext>
                  </a:extLst>
                </a:gridCol>
                <a:gridCol w="3064532">
                  <a:extLst>
                    <a:ext uri="{9D8B030D-6E8A-4147-A177-3AD203B41FA5}">
                      <a16:colId xmlns:a16="http://schemas.microsoft.com/office/drawing/2014/main" val="417630148"/>
                    </a:ext>
                  </a:extLst>
                </a:gridCol>
                <a:gridCol w="5229048">
                  <a:extLst>
                    <a:ext uri="{9D8B030D-6E8A-4147-A177-3AD203B41FA5}">
                      <a16:colId xmlns:a16="http://schemas.microsoft.com/office/drawing/2014/main" val="1798106486"/>
                    </a:ext>
                  </a:extLst>
                </a:gridCol>
              </a:tblGrid>
              <a:tr h="0">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Pop Quiz</a:t>
                      </a:r>
                    </a:p>
                  </a:txBody>
                  <a:tcPr marL="0" marR="72000" marT="73152" marB="73152"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Challenge Category</a:t>
                      </a:r>
                    </a:p>
                  </a:txBody>
                  <a:tcPr marL="72000" marR="72000" marT="73152" marB="73152"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Challenges</a:t>
                      </a:r>
                    </a:p>
                  </a:txBody>
                  <a:tcPr marL="72000" marR="72000" marT="73152" marB="73152"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What client did to overcome the challenges?</a:t>
                      </a:r>
                    </a:p>
                  </a:txBody>
                  <a:tcPr marL="72000" marR="72000" marT="73152" marB="73152" anchor="b">
                    <a:lnT>
                      <a:noFill/>
                    </a:lnT>
                    <a:lnB w="9525">
                      <a:solidFill>
                        <a:srgbClr val="9A9A9A">
                          <a:lumMod val="100000"/>
                        </a:srgbClr>
                      </a:solidFill>
                      <a:prstDash val="solid"/>
                    </a:lnB>
                  </a:tcPr>
                </a:tc>
                <a:extLst>
                  <a:ext uri="{0D108BD9-81ED-4DB2-BD59-A6C34878D82A}">
                    <a16:rowId xmlns:a16="http://schemas.microsoft.com/office/drawing/2014/main" val="854569993"/>
                  </a:ext>
                </a:extLst>
              </a:tr>
              <a:tr h="0">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200" b="0" i="0" u="none" dirty="0">
                          <a:solidFill>
                            <a:schemeClr val="tx1">
                              <a:lumMod val="100000"/>
                            </a:schemeClr>
                          </a:solidFill>
                          <a:latin typeface="Trebuchet MS" panose="020B0603020202020204" pitchFamily="34" charset="0"/>
                        </a:rPr>
                        <a:t>1</a:t>
                      </a:r>
                    </a:p>
                  </a:txBody>
                  <a:tcPr marL="0" marR="72000" marT="73152" marB="73152">
                    <a:lnT w="9525">
                      <a:solidFill>
                        <a:srgbClr val="9A9A9A">
                          <a:lumMod val="100000"/>
                        </a:srgbClr>
                      </a:solidFill>
                      <a:prstDash val="solid"/>
                    </a:lnT>
                    <a:lnB>
                      <a:noFill/>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200" b="0" i="0" u="none" dirty="0">
                          <a:solidFill>
                            <a:schemeClr val="tx1">
                              <a:lumMod val="100000"/>
                            </a:schemeClr>
                          </a:solidFill>
                          <a:latin typeface="Trebuchet MS" panose="020B0603020202020204" pitchFamily="34" charset="0"/>
                        </a:rPr>
                        <a:t>Data related challenges</a:t>
                      </a:r>
                    </a:p>
                  </a:txBody>
                  <a:tcPr marL="72000" marR="72000" marT="73152" marB="73152">
                    <a:lnT w="9525">
                      <a:solidFill>
                        <a:srgbClr val="9A9A9A">
                          <a:lumMod val="100000"/>
                        </a:srgbClr>
                      </a:solidFill>
                      <a:prstDash val="solid"/>
                    </a:lnT>
                    <a:lnB>
                      <a:noFill/>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SG" sz="1200" b="0" i="0" u="none" dirty="0">
                          <a:solidFill>
                            <a:schemeClr val="tx1">
                              <a:lumMod val="100000"/>
                            </a:schemeClr>
                          </a:solidFill>
                          <a:latin typeface="Trebuchet MS" panose="020B0603020202020204" pitchFamily="34" charset="0"/>
                        </a:rPr>
                        <a:t>Quality of the underlying data available and technical infrastructure required for model training</a:t>
                      </a:r>
                      <a:endParaRPr lang="en-US" sz="1200" b="0" i="0" u="none" dirty="0">
                        <a:solidFill>
                          <a:schemeClr val="tx1">
                            <a:lumMod val="100000"/>
                          </a:schemeClr>
                        </a:solidFill>
                        <a:latin typeface="Trebuchet MS" panose="020B0603020202020204" pitchFamily="34" charset="0"/>
                      </a:endParaRPr>
                    </a:p>
                  </a:txBody>
                  <a:tcPr marL="72000" marR="72000" marT="73152" marB="73152">
                    <a:lnT w="9525">
                      <a:solidFill>
                        <a:srgbClr val="9A9A9A">
                          <a:lumMod val="100000"/>
                        </a:srgbClr>
                      </a:solidFill>
                      <a:prstDash val="solid"/>
                    </a:lnT>
                    <a:lnB>
                      <a:noFill/>
                    </a:lnB>
                  </a:tcPr>
                </a:tc>
                <a:tc>
                  <a:txBody>
                    <a:bodyPr/>
                    <a:lstStyle/>
                    <a:p>
                      <a:pPr marL="32400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Arial" panose="020B0604020202020204" pitchFamily="34" charset="0"/>
                        <a:buChar char="•"/>
                      </a:pPr>
                      <a:r>
                        <a:rPr lang="en-SG" sz="1200" b="0" i="0" u="none" kern="1200" spc="0" dirty="0">
                          <a:solidFill>
                            <a:schemeClr val="tx1">
                              <a:lumMod val="100000"/>
                            </a:schemeClr>
                          </a:solidFill>
                          <a:latin typeface="Trebuchet MS" panose="020B0603020202020204" pitchFamily="34" charset="0"/>
                        </a:rPr>
                        <a:t>Start reviewing the data available during the data understanding phase itself and specify changes required</a:t>
                      </a:r>
                    </a:p>
                    <a:p>
                      <a:pPr marL="32400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Arial" panose="020B0604020202020204" pitchFamily="34" charset="0"/>
                        <a:buChar char="•"/>
                      </a:pPr>
                      <a:r>
                        <a:rPr lang="en-SG" sz="1200" b="0" i="0" u="none" kern="1200" spc="0" dirty="0">
                          <a:solidFill>
                            <a:schemeClr val="tx1">
                              <a:lumMod val="100000"/>
                            </a:schemeClr>
                          </a:solidFill>
                          <a:latin typeface="Trebuchet MS" panose="020B0603020202020204" pitchFamily="34" charset="0"/>
                        </a:rPr>
                        <a:t>Align on the technical infrastructure during the business or data understanding phase of the project</a:t>
                      </a:r>
                      <a:endParaRPr lang="en-US" sz="1200" b="0" i="0" u="none" kern="1200" spc="0" dirty="0">
                        <a:solidFill>
                          <a:schemeClr val="tx1">
                            <a:lumMod val="100000"/>
                          </a:schemeClr>
                        </a:solidFill>
                        <a:latin typeface="Trebuchet MS" panose="020B0603020202020204" pitchFamily="34" charset="0"/>
                      </a:endParaRPr>
                    </a:p>
                  </a:txBody>
                  <a:tcPr marL="72000" marR="72000" marT="73152" marB="73152">
                    <a:lnT w="9525">
                      <a:solidFill>
                        <a:srgbClr val="9A9A9A">
                          <a:lumMod val="100000"/>
                        </a:srgbClr>
                      </a:solidFill>
                      <a:prstDash val="solid"/>
                    </a:lnT>
                    <a:lnB>
                      <a:noFill/>
                    </a:lnB>
                    <a:solidFill>
                      <a:schemeClr val="tx2">
                        <a:lumMod val="10000"/>
                        <a:lumOff val="90000"/>
                      </a:schemeClr>
                    </a:solidFill>
                  </a:tcPr>
                </a:tc>
                <a:extLst>
                  <a:ext uri="{0D108BD9-81ED-4DB2-BD59-A6C34878D82A}">
                    <a16:rowId xmlns:a16="http://schemas.microsoft.com/office/drawing/2014/main" val="3932837686"/>
                  </a:ext>
                </a:extLst>
              </a:tr>
              <a:tr h="0">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200" b="0" i="0" u="none" dirty="0">
                          <a:solidFill>
                            <a:schemeClr val="tx1">
                              <a:lumMod val="100000"/>
                            </a:schemeClr>
                          </a:solidFill>
                          <a:latin typeface="Trebuchet MS" panose="020B0603020202020204" pitchFamily="34" charset="0"/>
                        </a:rPr>
                        <a:t>2</a:t>
                      </a:r>
                    </a:p>
                  </a:txBody>
                  <a:tcPr marL="0" marR="72000" marT="73152" marB="73152">
                    <a:lnT>
                      <a:noFill/>
                    </a:lnT>
                    <a:lnB>
                      <a:noFill/>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SG" sz="1200" b="0" i="0" u="none" dirty="0">
                          <a:solidFill>
                            <a:schemeClr val="tx1">
                              <a:lumMod val="100000"/>
                            </a:schemeClr>
                          </a:solidFill>
                          <a:latin typeface="Trebuchet MS" panose="020B0603020202020204" pitchFamily="34" charset="0"/>
                        </a:rPr>
                        <a:t>Understanding the right metrics and </a:t>
                      </a:r>
                      <a:r>
                        <a:rPr lang="en-SG" sz="1200" b="0" i="0" u="none" dirty="0" err="1">
                          <a:solidFill>
                            <a:schemeClr val="tx1">
                              <a:lumMod val="100000"/>
                            </a:schemeClr>
                          </a:solidFill>
                          <a:latin typeface="Trebuchet MS" panose="020B0603020202020204" pitchFamily="34" charset="0"/>
                        </a:rPr>
                        <a:t>KPIs</a:t>
                      </a:r>
                      <a:endParaRPr lang="en-US" sz="1200" b="0" i="0" u="none" dirty="0">
                        <a:solidFill>
                          <a:schemeClr val="tx1">
                            <a:lumMod val="100000"/>
                          </a:schemeClr>
                        </a:solidFill>
                        <a:latin typeface="Trebuchet MS" panose="020B0603020202020204" pitchFamily="34" charset="0"/>
                      </a:endParaRPr>
                    </a:p>
                  </a:txBody>
                  <a:tcPr marL="72000" marR="72000" marT="73152" marB="73152">
                    <a:lnT>
                      <a:noFill/>
                    </a:lnT>
                    <a:lnB>
                      <a:noFill/>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SG" sz="1200" b="0" i="0" u="none" dirty="0">
                          <a:solidFill>
                            <a:schemeClr val="tx1">
                              <a:lumMod val="100000"/>
                            </a:schemeClr>
                          </a:solidFill>
                          <a:latin typeface="Trebuchet MS" panose="020B0603020202020204" pitchFamily="34" charset="0"/>
                        </a:rPr>
                        <a:t>Right </a:t>
                      </a:r>
                      <a:r>
                        <a:rPr lang="en-SG" sz="1200" b="0" i="0" u="none" dirty="0" err="1">
                          <a:solidFill>
                            <a:schemeClr val="tx1">
                              <a:lumMod val="100000"/>
                            </a:schemeClr>
                          </a:solidFill>
                          <a:latin typeface="Trebuchet MS" panose="020B0603020202020204" pitchFamily="34" charset="0"/>
                        </a:rPr>
                        <a:t>KPIs</a:t>
                      </a:r>
                      <a:r>
                        <a:rPr lang="en-SG" sz="1200" b="0" i="0" u="none" dirty="0">
                          <a:solidFill>
                            <a:schemeClr val="tx1">
                              <a:lumMod val="100000"/>
                            </a:schemeClr>
                          </a:solidFill>
                          <a:latin typeface="Trebuchet MS" panose="020B0603020202020204" pitchFamily="34" charset="0"/>
                        </a:rPr>
                        <a:t>/Metric to evaluate model accuracy</a:t>
                      </a:r>
                    </a:p>
                  </a:txBody>
                  <a:tcPr marL="72000" marR="72000" marT="73152" marB="73152">
                    <a:lnT>
                      <a:noFill/>
                    </a:lnT>
                    <a:lnB>
                      <a:noFill/>
                    </a:lnB>
                  </a:tcPr>
                </a:tc>
                <a:tc>
                  <a:txBody>
                    <a:bodyPr/>
                    <a:lstStyle/>
                    <a:p>
                      <a:pPr marL="32400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Arial" panose="020B0604020202020204" pitchFamily="34" charset="0"/>
                        <a:buChar char="•"/>
                      </a:pPr>
                      <a:r>
                        <a:rPr lang="en-SG" sz="1200" b="0" i="0" u="none" kern="1200" spc="0" dirty="0">
                          <a:solidFill>
                            <a:schemeClr val="tx1">
                              <a:lumMod val="100000"/>
                            </a:schemeClr>
                          </a:solidFill>
                          <a:latin typeface="Trebuchet MS" panose="020B0603020202020204" pitchFamily="34" charset="0"/>
                        </a:rPr>
                        <a:t>Engage with business to understand the metric but also use historical data to find the right metrics</a:t>
                      </a:r>
                      <a:r>
                        <a:rPr lang="en-US" sz="1200" b="0" i="0" u="none" kern="1200" spc="0" dirty="0">
                          <a:solidFill>
                            <a:schemeClr val="tx1">
                              <a:lumMod val="100000"/>
                            </a:schemeClr>
                          </a:solidFill>
                          <a:latin typeface="Trebuchet MS" panose="020B0603020202020204" pitchFamily="34" charset="0"/>
                        </a:rPr>
                        <a:t>, e.g., the ETA precision metric of ±1-day was too strict on the model and increasing the allowed error rate to ±1.5 days lifted the model accuracy</a:t>
                      </a:r>
                      <a:endParaRPr lang="en-SG" sz="1200" b="0" i="0" u="none" kern="1200" spc="0" dirty="0">
                        <a:solidFill>
                          <a:schemeClr val="tx1">
                            <a:lumMod val="100000"/>
                          </a:schemeClr>
                        </a:solidFill>
                        <a:latin typeface="Trebuchet MS" panose="020B0603020202020204" pitchFamily="34" charset="0"/>
                      </a:endParaRPr>
                    </a:p>
                  </a:txBody>
                  <a:tcPr marL="72000" marR="72000" marT="73152" marB="73152">
                    <a:lnT>
                      <a:noFill/>
                    </a:lnT>
                    <a:lnB>
                      <a:noFill/>
                    </a:lnB>
                    <a:solidFill>
                      <a:schemeClr val="tx2">
                        <a:lumMod val="10000"/>
                        <a:lumOff val="90000"/>
                      </a:schemeClr>
                    </a:solidFill>
                  </a:tcPr>
                </a:tc>
                <a:extLst>
                  <a:ext uri="{0D108BD9-81ED-4DB2-BD59-A6C34878D82A}">
                    <a16:rowId xmlns:a16="http://schemas.microsoft.com/office/drawing/2014/main" val="2476098308"/>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chemeClr val="tx1">
                              <a:lumMod val="100000"/>
                            </a:schemeClr>
                          </a:solidFill>
                          <a:latin typeface="Trebuchet MS" panose="020B0603020202020204" pitchFamily="34" charset="0"/>
                        </a:rPr>
                        <a:t>3</a:t>
                      </a:r>
                    </a:p>
                  </a:txBody>
                  <a:tcPr marL="0" marR="72000" marT="73152" marB="73152">
                    <a:lnT>
                      <a:noFill/>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1200" b="0" i="0" u="none" dirty="0">
                          <a:solidFill>
                            <a:schemeClr val="tx1">
                              <a:lumMod val="100000"/>
                            </a:schemeClr>
                          </a:solidFill>
                          <a:latin typeface="Trebuchet MS" panose="020B0603020202020204" pitchFamily="34" charset="0"/>
                        </a:rPr>
                        <a:t>Stakeholder or expectation management</a:t>
                      </a:r>
                      <a:endParaRPr lang="en-US" sz="1200" b="0" i="0" u="none" dirty="0">
                        <a:solidFill>
                          <a:schemeClr val="tx1">
                            <a:lumMod val="100000"/>
                          </a:schemeClr>
                        </a:solidFill>
                        <a:latin typeface="Trebuchet MS" panose="020B0603020202020204" pitchFamily="34" charset="0"/>
                      </a:endParaRPr>
                    </a:p>
                  </a:txBody>
                  <a:tcPr marL="72000" marR="72000" marT="73152" marB="73152">
                    <a:lnT>
                      <a:noFill/>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chemeClr val="tx1">
                              <a:lumMod val="100000"/>
                            </a:schemeClr>
                          </a:solidFill>
                          <a:latin typeface="Trebuchet MS" panose="020B0603020202020204" pitchFamily="34" charset="0"/>
                        </a:rPr>
                        <a:t>Model interpretability by business i.e., transparency around the model design</a:t>
                      </a:r>
                    </a:p>
                  </a:txBody>
                  <a:tcPr marL="72000" marR="72000" marT="73152" marB="73152">
                    <a:lnT>
                      <a:noFill/>
                    </a:lnT>
                    <a:lnB>
                      <a:noFill/>
                    </a:lnB>
                  </a:tcPr>
                </a:tc>
                <a:tc>
                  <a:txBody>
                    <a:bodyPr/>
                    <a:lstStyle/>
                    <a:p>
                      <a:pPr marL="32400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Arial" panose="020B0604020202020204" pitchFamily="34" charset="0"/>
                        <a:buChar char="•"/>
                      </a:pPr>
                      <a:r>
                        <a:rPr lang="en-SG" sz="1200" b="0" i="0" u="none" kern="1200" spc="0" dirty="0">
                          <a:solidFill>
                            <a:schemeClr val="tx1">
                              <a:lumMod val="100000"/>
                            </a:schemeClr>
                          </a:solidFill>
                          <a:latin typeface="Trebuchet MS" panose="020B0603020202020204" pitchFamily="34" charset="0"/>
                        </a:rPr>
                        <a:t>Maintain balance between accuracy and interpretability by selecting the right model approach</a:t>
                      </a:r>
                    </a:p>
                    <a:p>
                      <a:pPr marL="32400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Arial" panose="020B0604020202020204" pitchFamily="34" charset="0"/>
                        <a:buChar char="•"/>
                      </a:pPr>
                      <a:r>
                        <a:rPr lang="en-SG" sz="1200" b="0" i="0" u="none" kern="1200" spc="0" dirty="0">
                          <a:solidFill>
                            <a:schemeClr val="tx1">
                              <a:lumMod val="100000"/>
                            </a:schemeClr>
                          </a:solidFill>
                          <a:latin typeface="Trebuchet MS" panose="020B0603020202020204" pitchFamily="34" charset="0"/>
                        </a:rPr>
                        <a:t>Helpful to build a white box model depending on business requirements and expected accuracy level</a:t>
                      </a:r>
                      <a:endParaRPr lang="en-US" sz="1200" b="0" i="0" u="none" kern="1200" spc="0" dirty="0">
                        <a:solidFill>
                          <a:schemeClr val="tx1">
                            <a:lumMod val="100000"/>
                          </a:schemeClr>
                        </a:solidFill>
                        <a:latin typeface="Trebuchet MS" panose="020B0603020202020204" pitchFamily="34" charset="0"/>
                      </a:endParaRPr>
                    </a:p>
                  </a:txBody>
                  <a:tcPr marL="72000" marR="72000" marT="73152" marB="73152">
                    <a:lnT>
                      <a:noFill/>
                    </a:lnT>
                    <a:lnB>
                      <a:noFill/>
                    </a:lnB>
                    <a:solidFill>
                      <a:schemeClr val="tx2">
                        <a:lumMod val="10000"/>
                        <a:lumOff val="90000"/>
                      </a:schemeClr>
                    </a:solidFill>
                  </a:tcPr>
                </a:tc>
                <a:extLst>
                  <a:ext uri="{0D108BD9-81ED-4DB2-BD59-A6C34878D82A}">
                    <a16:rowId xmlns:a16="http://schemas.microsoft.com/office/drawing/2014/main" val="1521356864"/>
                  </a:ext>
                </a:extLst>
              </a:tr>
              <a:tr h="0">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200" b="0" i="0" u="none" dirty="0">
                          <a:solidFill>
                            <a:schemeClr val="tx1">
                              <a:lumMod val="100000"/>
                            </a:schemeClr>
                          </a:solidFill>
                          <a:latin typeface="Trebuchet MS" panose="020B0603020202020204" pitchFamily="34" charset="0"/>
                        </a:rPr>
                        <a:t>4</a:t>
                      </a:r>
                    </a:p>
                  </a:txBody>
                  <a:tcPr marL="0" marR="72000" marT="73152" marB="73152">
                    <a:lnT>
                      <a:noFill/>
                    </a:lnT>
                    <a:lnB>
                      <a:noFill/>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200" b="0" i="0" u="none" dirty="0">
                          <a:solidFill>
                            <a:schemeClr val="tx1">
                              <a:lumMod val="100000"/>
                            </a:schemeClr>
                          </a:solidFill>
                          <a:latin typeface="Trebuchet MS" panose="020B0603020202020204" pitchFamily="34" charset="0"/>
                        </a:rPr>
                        <a:t>Automation and deployment</a:t>
                      </a:r>
                    </a:p>
                  </a:txBody>
                  <a:tcPr marL="72000" marR="72000" marT="73152" marB="73152">
                    <a:lnT>
                      <a:noFill/>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1200" b="0" i="0" u="none" dirty="0">
                          <a:solidFill>
                            <a:schemeClr val="tx1">
                              <a:lumMod val="100000"/>
                            </a:schemeClr>
                          </a:solidFill>
                          <a:latin typeface="Trebuchet MS" panose="020B0603020202020204" pitchFamily="34" charset="0"/>
                        </a:rPr>
                        <a:t>Model deployed to production delivers high impact to business</a:t>
                      </a:r>
                      <a:endParaRPr lang="en-US" sz="1200" b="0" i="0" u="none" dirty="0">
                        <a:solidFill>
                          <a:schemeClr val="tx1">
                            <a:lumMod val="100000"/>
                          </a:schemeClr>
                        </a:solidFill>
                        <a:latin typeface="Trebuchet MS" panose="020B0603020202020204" pitchFamily="34" charset="0"/>
                      </a:endParaRPr>
                    </a:p>
                  </a:txBody>
                  <a:tcPr marL="72000" marR="72000" marT="73152" marB="73152">
                    <a:lnT>
                      <a:noFill/>
                    </a:lnT>
                    <a:lnB>
                      <a:noFill/>
                    </a:lnB>
                  </a:tcPr>
                </a:tc>
                <a:tc>
                  <a:txBody>
                    <a:bodyPr/>
                    <a:lstStyle/>
                    <a:p>
                      <a:pPr marL="32400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Arial" panose="020B0604020202020204" pitchFamily="34" charset="0"/>
                        <a:buChar char="•"/>
                      </a:pPr>
                      <a:r>
                        <a:rPr lang="en-US" sz="1200" b="0" i="0" u="none" kern="1200" spc="0" dirty="0">
                          <a:solidFill>
                            <a:schemeClr val="tx1">
                              <a:lumMod val="100000"/>
                            </a:schemeClr>
                          </a:solidFill>
                          <a:latin typeface="Trebuchet MS" panose="020B0603020202020204" pitchFamily="34" charset="0"/>
                        </a:rPr>
                        <a:t>Always write automated and structured code with proper documentation for smooth deployments of model</a:t>
                      </a:r>
                    </a:p>
                  </a:txBody>
                  <a:tcPr marL="72000" marR="72000" marT="73152" marB="73152">
                    <a:lnT>
                      <a:noFill/>
                    </a:lnT>
                    <a:lnB>
                      <a:noFill/>
                    </a:lnB>
                    <a:solidFill>
                      <a:schemeClr val="tx2">
                        <a:lumMod val="10000"/>
                        <a:lumOff val="90000"/>
                      </a:schemeClr>
                    </a:solidFill>
                  </a:tcPr>
                </a:tc>
                <a:extLst>
                  <a:ext uri="{0D108BD9-81ED-4DB2-BD59-A6C34878D82A}">
                    <a16:rowId xmlns:a16="http://schemas.microsoft.com/office/drawing/2014/main" val="3498088815"/>
                  </a:ext>
                </a:extLst>
              </a:tr>
              <a:tr h="0">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200" b="0" i="0" u="none" dirty="0">
                          <a:solidFill>
                            <a:schemeClr val="tx1">
                              <a:lumMod val="100000"/>
                            </a:schemeClr>
                          </a:solidFill>
                          <a:latin typeface="Trebuchet MS" panose="020B0603020202020204" pitchFamily="34" charset="0"/>
                        </a:rPr>
                        <a:t>5</a:t>
                      </a:r>
                    </a:p>
                  </a:txBody>
                  <a:tcPr marL="0" marR="72000" marT="73152" marB="73152">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chemeClr val="tx1">
                              <a:lumMod val="100000"/>
                            </a:schemeClr>
                          </a:solidFill>
                          <a:latin typeface="Trebuchet MS" panose="020B0603020202020204" pitchFamily="34" charset="0"/>
                        </a:rPr>
                        <a:t>Automation and deployment</a:t>
                      </a:r>
                    </a:p>
                  </a:txBody>
                  <a:tcPr marL="72000" marR="72000" marT="73152" marB="73152">
                    <a:lnT>
                      <a:noFill/>
                    </a:lnT>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200" b="0" i="0" u="none" dirty="0">
                          <a:solidFill>
                            <a:schemeClr val="tx1">
                              <a:lumMod val="100000"/>
                            </a:schemeClr>
                          </a:solidFill>
                          <a:latin typeface="Trebuchet MS" panose="020B0603020202020204" pitchFamily="34" charset="0"/>
                        </a:rPr>
                        <a:t>Model maintenance to handle model decay over time</a:t>
                      </a:r>
                    </a:p>
                  </a:txBody>
                  <a:tcPr marL="72000" marR="72000" marT="73152" marB="73152">
                    <a:lnT>
                      <a:noFill/>
                    </a:lnT>
                  </a:tcPr>
                </a:tc>
                <a:tc>
                  <a:txBody>
                    <a:bodyPr/>
                    <a:lstStyle/>
                    <a:p>
                      <a:pPr marL="32400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Arial" panose="020B0604020202020204" pitchFamily="34" charset="0"/>
                        <a:buChar char="•"/>
                      </a:pPr>
                      <a:r>
                        <a:rPr lang="en-SG" sz="1200" b="0" i="0" u="none" kern="1200" spc="0" dirty="0">
                          <a:solidFill>
                            <a:schemeClr val="tx1">
                              <a:lumMod val="100000"/>
                            </a:schemeClr>
                          </a:solidFill>
                          <a:latin typeface="Trebuchet MS" panose="020B0603020202020204" pitchFamily="34" charset="0"/>
                        </a:rPr>
                        <a:t>Regular interventions should be place to evaluate model accuracy and alarm should be triggered when accuracy drops below a certain threshold. </a:t>
                      </a:r>
                      <a:endParaRPr lang="en-US" sz="1200" b="0" i="0" u="none" kern="1200" spc="0" dirty="0">
                        <a:solidFill>
                          <a:schemeClr val="tx1">
                            <a:lumMod val="100000"/>
                          </a:schemeClr>
                        </a:solidFill>
                        <a:latin typeface="Trebuchet MS" panose="020B0603020202020204" pitchFamily="34" charset="0"/>
                      </a:endParaRPr>
                    </a:p>
                  </a:txBody>
                  <a:tcPr marL="72000" marR="72000" marT="73152" marB="73152">
                    <a:lnT>
                      <a:noFill/>
                    </a:lnT>
                    <a:solidFill>
                      <a:schemeClr val="tx2">
                        <a:lumMod val="10000"/>
                        <a:lumOff val="90000"/>
                      </a:schemeClr>
                    </a:solidFill>
                  </a:tcPr>
                </a:tc>
                <a:extLst>
                  <a:ext uri="{0D108BD9-81ED-4DB2-BD59-A6C34878D82A}">
                    <a16:rowId xmlns:a16="http://schemas.microsoft.com/office/drawing/2014/main" val="4176054699"/>
                  </a:ext>
                </a:extLst>
              </a:tr>
            </a:tbl>
          </a:graphicData>
        </a:graphic>
      </p:graphicFrame>
    </p:spTree>
    <p:extLst>
      <p:ext uri="{BB962C8B-B14F-4D97-AF65-F5344CB8AC3E}">
        <p14:creationId xmlns:p14="http://schemas.microsoft.com/office/powerpoint/2010/main" val="839583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0B987F-E2AD-4ACD-BCE1-F9C418059A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E0B987F-E2AD-4ACD-BCE1-F9C418059A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Placeholder 6" descr="A picture containing person, silhouette&#10;&#10;Description automatically generated">
            <a:extLst>
              <a:ext uri="{FF2B5EF4-FFF2-40B4-BE49-F238E27FC236}">
                <a16:creationId xmlns:a16="http://schemas.microsoft.com/office/drawing/2014/main" id="{7C2AB8F3-2D02-4FA1-997A-85778CEF9E95}"/>
              </a:ext>
            </a:extLst>
          </p:cNvPr>
          <p:cNvPicPr>
            <a:picLocks noGrp="1" noChangeAspect="1"/>
          </p:cNvPicPr>
          <p:nvPr>
            <p:ph type="pic" sz="quarter" idx="14"/>
          </p:nvPr>
        </p:nvPicPr>
        <p:blipFill>
          <a:blip r:embed="rId5"/>
          <a:srcRect l="20347" r="20347"/>
          <a:stretch>
            <a:fillRect/>
          </a:stretch>
        </p:blipFill>
        <p:spPr/>
      </p:pic>
      <p:sp>
        <p:nvSpPr>
          <p:cNvPr id="3" name="Title 2">
            <a:extLst>
              <a:ext uri="{FF2B5EF4-FFF2-40B4-BE49-F238E27FC236}">
                <a16:creationId xmlns:a16="http://schemas.microsoft.com/office/drawing/2014/main" id="{867E49CE-ACBE-4722-A8A6-BD804267A7E8}"/>
              </a:ext>
            </a:extLst>
          </p:cNvPr>
          <p:cNvSpPr>
            <a:spLocks noGrp="1"/>
          </p:cNvSpPr>
          <p:nvPr>
            <p:ph type="title"/>
          </p:nvPr>
        </p:nvSpPr>
        <p:spPr>
          <a:xfrm>
            <a:off x="630000" y="1785600"/>
            <a:ext cx="4513500" cy="3286800"/>
          </a:xfrm>
        </p:spPr>
        <p:txBody>
          <a:bodyPr vert="horz"/>
          <a:lstStyle/>
          <a:p>
            <a:r>
              <a:rPr lang="en-US" sz="5400" dirty="0"/>
              <a:t>Sentosa</a:t>
            </a:r>
            <a:br>
              <a:rPr lang="en-US" dirty="0"/>
            </a:br>
            <a:br>
              <a:rPr lang="en-US" dirty="0"/>
            </a:br>
            <a:r>
              <a:rPr lang="en-US" sz="2400" dirty="0"/>
              <a:t>Based on the capstone problem on Sentosa, answer multiple-choice questions applying the concepts you have learnt so far in the training</a:t>
            </a:r>
            <a:endParaRPr lang="en-US" sz="3200" dirty="0"/>
          </a:p>
        </p:txBody>
      </p:sp>
      <p:sp>
        <p:nvSpPr>
          <p:cNvPr id="32" name="TextBox 31">
            <a:extLst>
              <a:ext uri="{FF2B5EF4-FFF2-40B4-BE49-F238E27FC236}">
                <a16:creationId xmlns:a16="http://schemas.microsoft.com/office/drawing/2014/main" id="{503C6F3D-3EC3-49E7-A06E-8F5B237D8C65}"/>
              </a:ext>
            </a:extLst>
          </p:cNvPr>
          <p:cNvSpPr txBox="1"/>
          <p:nvPr/>
        </p:nvSpPr>
        <p:spPr>
          <a:xfrm>
            <a:off x="0" y="252156"/>
            <a:ext cx="1133475" cy="386019"/>
          </a:xfrm>
          <a:prstGeom prst="rect">
            <a:avLst/>
          </a:prstGeom>
          <a:solidFill>
            <a:srgbClr val="20B66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10 mins</a:t>
            </a:r>
          </a:p>
        </p:txBody>
      </p:sp>
    </p:spTree>
    <p:extLst>
      <p:ext uri="{BB962C8B-B14F-4D97-AF65-F5344CB8AC3E}">
        <p14:creationId xmlns:p14="http://schemas.microsoft.com/office/powerpoint/2010/main" val="2830785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BBDE9-1E50-4D20-8B59-B57AA78B5249}"/>
              </a:ext>
            </a:extLst>
          </p:cNvPr>
          <p:cNvGraphicFramePr>
            <a:graphicFrameLocks noChangeAspect="1"/>
          </p:cNvGraphicFramePr>
          <p:nvPr>
            <p:custDataLst>
              <p:tags r:id="rId2"/>
            </p:custDataLst>
            <p:extLst>
              <p:ext uri="{D42A27DB-BD31-4B8C-83A1-F6EECF244321}">
                <p14:modId xmlns:p14="http://schemas.microsoft.com/office/powerpoint/2010/main" val="249636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3" name="Object 2" hidden="1">
                        <a:extLst>
                          <a:ext uri="{FF2B5EF4-FFF2-40B4-BE49-F238E27FC236}">
                            <a16:creationId xmlns:a16="http://schemas.microsoft.com/office/drawing/2014/main" id="{D31BBDE9-1E50-4D20-8B59-B57AA78B52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C09EA2-80EA-47C2-96F8-8EFF178DD37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56203"/>
            <a:ext cx="10933350" cy="387798"/>
          </a:xfrm>
        </p:spPr>
        <p:txBody>
          <a:bodyPr vert="horz"/>
          <a:lstStyle/>
          <a:p>
            <a:r>
              <a:rPr lang="en-US" sz="2800" dirty="0"/>
              <a:t>Pop Quiz Question 1</a:t>
            </a:r>
          </a:p>
        </p:txBody>
      </p:sp>
      <p:sp>
        <p:nvSpPr>
          <p:cNvPr id="10" name="Rectangle 9">
            <a:extLst>
              <a:ext uri="{FF2B5EF4-FFF2-40B4-BE49-F238E27FC236}">
                <a16:creationId xmlns:a16="http://schemas.microsoft.com/office/drawing/2014/main" id="{7E2ADD48-F020-47B3-B70D-97B269215F66}"/>
              </a:ext>
            </a:extLst>
          </p:cNvPr>
          <p:cNvSpPr/>
          <p:nvPr/>
        </p:nvSpPr>
        <p:spPr>
          <a:xfrm>
            <a:off x="630000" y="2659744"/>
            <a:ext cx="8702686"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A. </a:t>
            </a:r>
            <a:r>
              <a:rPr lang="en-SG" dirty="0">
                <a:solidFill>
                  <a:schemeClr val="tx1"/>
                </a:solidFill>
              </a:rPr>
              <a:t>Complex model with high accuracy levels</a:t>
            </a:r>
          </a:p>
        </p:txBody>
      </p:sp>
      <p:sp>
        <p:nvSpPr>
          <p:cNvPr id="11" name="Rectangle 10">
            <a:extLst>
              <a:ext uri="{FF2B5EF4-FFF2-40B4-BE49-F238E27FC236}">
                <a16:creationId xmlns:a16="http://schemas.microsoft.com/office/drawing/2014/main" id="{9F2CC9FD-E789-4347-B1BE-F1F8C98495CE}"/>
              </a:ext>
            </a:extLst>
          </p:cNvPr>
          <p:cNvSpPr/>
          <p:nvPr/>
        </p:nvSpPr>
        <p:spPr>
          <a:xfrm>
            <a:off x="629999" y="4164092"/>
            <a:ext cx="10828575"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C. </a:t>
            </a:r>
            <a:r>
              <a:rPr lang="en-US" dirty="0">
                <a:solidFill>
                  <a:schemeClr val="tx1"/>
                </a:solidFill>
              </a:rPr>
              <a:t>Ensuring that the model accuracy stays the same on an unseen future data</a:t>
            </a:r>
            <a:endParaRPr lang="en-SG" dirty="0">
              <a:solidFill>
                <a:schemeClr val="tx1"/>
              </a:solidFill>
            </a:endParaRPr>
          </a:p>
        </p:txBody>
      </p:sp>
      <p:sp>
        <p:nvSpPr>
          <p:cNvPr id="12" name="Rectangle 11">
            <a:extLst>
              <a:ext uri="{FF2B5EF4-FFF2-40B4-BE49-F238E27FC236}">
                <a16:creationId xmlns:a16="http://schemas.microsoft.com/office/drawing/2014/main" id="{EE442290-B90D-44B8-9B8F-68767AD8C48E}"/>
              </a:ext>
            </a:extLst>
          </p:cNvPr>
          <p:cNvSpPr/>
          <p:nvPr/>
        </p:nvSpPr>
        <p:spPr>
          <a:xfrm>
            <a:off x="630000" y="3411918"/>
            <a:ext cx="10133250"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B. </a:t>
            </a:r>
            <a:r>
              <a:rPr lang="en-SG" dirty="0">
                <a:solidFill>
                  <a:schemeClr val="tx1"/>
                </a:solidFill>
              </a:rPr>
              <a:t>User friendly web application to visualize model predictions</a:t>
            </a:r>
            <a:endParaRPr lang="en-US" dirty="0">
              <a:solidFill>
                <a:schemeClr val="tx1"/>
              </a:solidFill>
            </a:endParaRPr>
          </a:p>
        </p:txBody>
      </p:sp>
      <p:sp>
        <p:nvSpPr>
          <p:cNvPr id="13" name="Rectangle 12">
            <a:extLst>
              <a:ext uri="{FF2B5EF4-FFF2-40B4-BE49-F238E27FC236}">
                <a16:creationId xmlns:a16="http://schemas.microsoft.com/office/drawing/2014/main" id="{20527278-D3C0-4E72-9565-F002FAF3B8D0}"/>
              </a:ext>
            </a:extLst>
          </p:cNvPr>
          <p:cNvSpPr/>
          <p:nvPr/>
        </p:nvSpPr>
        <p:spPr>
          <a:xfrm>
            <a:off x="630000" y="4916265"/>
            <a:ext cx="8702686" cy="6245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D. </a:t>
            </a:r>
            <a:r>
              <a:rPr lang="en-US" dirty="0">
                <a:solidFill>
                  <a:schemeClr val="tx1"/>
                </a:solidFill>
              </a:rPr>
              <a:t>None of the above</a:t>
            </a:r>
          </a:p>
        </p:txBody>
      </p:sp>
      <p:sp>
        <p:nvSpPr>
          <p:cNvPr id="15" name="Rectangle 14">
            <a:extLst>
              <a:ext uri="{FF2B5EF4-FFF2-40B4-BE49-F238E27FC236}">
                <a16:creationId xmlns:a16="http://schemas.microsoft.com/office/drawing/2014/main" id="{29A43233-E09C-4F6D-A254-86948031152F}"/>
              </a:ext>
            </a:extLst>
          </p:cNvPr>
          <p:cNvSpPr/>
          <p:nvPr/>
        </p:nvSpPr>
        <p:spPr>
          <a:xfrm>
            <a:off x="629999" y="1659334"/>
            <a:ext cx="11219101" cy="914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chemeClr val="tx1"/>
                </a:solidFill>
              </a:rPr>
              <a:t>Q1. </a:t>
            </a:r>
            <a:r>
              <a:rPr lang="en-US" sz="2000" b="1" dirty="0">
                <a:solidFill>
                  <a:schemeClr val="tx1"/>
                </a:solidFill>
              </a:rPr>
              <a:t>During the model validation phase with the business e.g., Demand prediction, what do you think would be clients' top preference?</a:t>
            </a:r>
          </a:p>
        </p:txBody>
      </p:sp>
      <p:sp>
        <p:nvSpPr>
          <p:cNvPr id="17" name="Rectangle 16">
            <a:extLst>
              <a:ext uri="{FF2B5EF4-FFF2-40B4-BE49-F238E27FC236}">
                <a16:creationId xmlns:a16="http://schemas.microsoft.com/office/drawing/2014/main" id="{9CE4C6AF-C6AD-456C-83ED-052CF9A631B4}"/>
              </a:ext>
            </a:extLst>
          </p:cNvPr>
          <p:cNvSpPr/>
          <p:nvPr/>
        </p:nvSpPr>
        <p:spPr>
          <a:xfrm flipH="1">
            <a:off x="0" y="438622"/>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pic>
        <p:nvPicPr>
          <p:cNvPr id="14" name="Graphic 13">
            <a:extLst>
              <a:ext uri="{FF2B5EF4-FFF2-40B4-BE49-F238E27FC236}">
                <a16:creationId xmlns:a16="http://schemas.microsoft.com/office/drawing/2014/main" id="{C719C5AA-4BD1-4BD2-AEDE-70E9373A41C9}"/>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7363" t="43832" r="15615"/>
          <a:stretch/>
        </p:blipFill>
        <p:spPr>
          <a:xfrm rot="5400000">
            <a:off x="4414443" y="-919556"/>
            <a:ext cx="6858000" cy="8697111"/>
          </a:xfrm>
          <a:prstGeom prst="rect">
            <a:avLst/>
          </a:prstGeom>
        </p:spPr>
      </p:pic>
    </p:spTree>
    <p:custDataLst>
      <p:tags r:id="rId1"/>
    </p:custDataLst>
    <p:extLst>
      <p:ext uri="{BB962C8B-B14F-4D97-AF65-F5344CB8AC3E}">
        <p14:creationId xmlns:p14="http://schemas.microsoft.com/office/powerpoint/2010/main" val="1147374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BBDE9-1E50-4D20-8B59-B57AA78B5249}"/>
              </a:ext>
            </a:extLst>
          </p:cNvPr>
          <p:cNvGraphicFramePr>
            <a:graphicFrameLocks noChangeAspect="1"/>
          </p:cNvGraphicFramePr>
          <p:nvPr>
            <p:custDataLst>
              <p:tags r:id="rId2"/>
            </p:custDataLst>
            <p:extLst>
              <p:ext uri="{D42A27DB-BD31-4B8C-83A1-F6EECF244321}">
                <p14:modId xmlns:p14="http://schemas.microsoft.com/office/powerpoint/2010/main" val="37158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3" name="Object 2" hidden="1">
                        <a:extLst>
                          <a:ext uri="{FF2B5EF4-FFF2-40B4-BE49-F238E27FC236}">
                            <a16:creationId xmlns:a16="http://schemas.microsoft.com/office/drawing/2014/main" id="{D31BBDE9-1E50-4D20-8B59-B57AA78B52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C09EA2-80EA-47C2-96F8-8EFF178DD37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56203"/>
            <a:ext cx="10933350" cy="387798"/>
          </a:xfrm>
        </p:spPr>
        <p:txBody>
          <a:bodyPr vert="horz"/>
          <a:lstStyle/>
          <a:p>
            <a:r>
              <a:rPr lang="en-US" sz="2800" dirty="0"/>
              <a:t>Pop Quiz Question 2</a:t>
            </a:r>
          </a:p>
        </p:txBody>
      </p:sp>
      <p:sp>
        <p:nvSpPr>
          <p:cNvPr id="10" name="Rectangle 9">
            <a:extLst>
              <a:ext uri="{FF2B5EF4-FFF2-40B4-BE49-F238E27FC236}">
                <a16:creationId xmlns:a16="http://schemas.microsoft.com/office/drawing/2014/main" id="{7E2ADD48-F020-47B3-B70D-97B269215F66}"/>
              </a:ext>
            </a:extLst>
          </p:cNvPr>
          <p:cNvSpPr/>
          <p:nvPr/>
        </p:nvSpPr>
        <p:spPr>
          <a:xfrm>
            <a:off x="630000" y="2659744"/>
            <a:ext cx="8702686"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A. </a:t>
            </a:r>
            <a:r>
              <a:rPr lang="en-SG" dirty="0">
                <a:solidFill>
                  <a:schemeClr val="tx1"/>
                </a:solidFill>
              </a:rPr>
              <a:t>Timeframe of data in the out of time validation dataset</a:t>
            </a:r>
          </a:p>
        </p:txBody>
      </p:sp>
      <p:sp>
        <p:nvSpPr>
          <p:cNvPr id="11" name="Rectangle 10">
            <a:extLst>
              <a:ext uri="{FF2B5EF4-FFF2-40B4-BE49-F238E27FC236}">
                <a16:creationId xmlns:a16="http://schemas.microsoft.com/office/drawing/2014/main" id="{9F2CC9FD-E789-4347-B1BE-F1F8C98495CE}"/>
              </a:ext>
            </a:extLst>
          </p:cNvPr>
          <p:cNvSpPr/>
          <p:nvPr/>
        </p:nvSpPr>
        <p:spPr>
          <a:xfrm>
            <a:off x="629999" y="4164092"/>
            <a:ext cx="10828575"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C. </a:t>
            </a:r>
            <a:r>
              <a:rPr lang="en-US" dirty="0">
                <a:solidFill>
                  <a:schemeClr val="tx1"/>
                </a:solidFill>
              </a:rPr>
              <a:t>Compute power in order to train the models</a:t>
            </a:r>
            <a:endParaRPr lang="en-SG" dirty="0">
              <a:solidFill>
                <a:schemeClr val="tx1"/>
              </a:solidFill>
            </a:endParaRPr>
          </a:p>
        </p:txBody>
      </p:sp>
      <p:sp>
        <p:nvSpPr>
          <p:cNvPr id="12" name="Rectangle 11">
            <a:extLst>
              <a:ext uri="{FF2B5EF4-FFF2-40B4-BE49-F238E27FC236}">
                <a16:creationId xmlns:a16="http://schemas.microsoft.com/office/drawing/2014/main" id="{EE442290-B90D-44B8-9B8F-68767AD8C48E}"/>
              </a:ext>
            </a:extLst>
          </p:cNvPr>
          <p:cNvSpPr/>
          <p:nvPr/>
        </p:nvSpPr>
        <p:spPr>
          <a:xfrm>
            <a:off x="630000" y="3411918"/>
            <a:ext cx="10133250"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B. </a:t>
            </a:r>
            <a:r>
              <a:rPr lang="en-SG" dirty="0">
                <a:solidFill>
                  <a:schemeClr val="tx1"/>
                </a:solidFill>
              </a:rPr>
              <a:t>Prediction timeframe, i.e. how many days/weeks in advance should the predictions be made</a:t>
            </a:r>
            <a:endParaRPr lang="en-US" dirty="0">
              <a:solidFill>
                <a:schemeClr val="tx1"/>
              </a:solidFill>
            </a:endParaRPr>
          </a:p>
        </p:txBody>
      </p:sp>
      <p:sp>
        <p:nvSpPr>
          <p:cNvPr id="13" name="Rectangle 12">
            <a:extLst>
              <a:ext uri="{FF2B5EF4-FFF2-40B4-BE49-F238E27FC236}">
                <a16:creationId xmlns:a16="http://schemas.microsoft.com/office/drawing/2014/main" id="{20527278-D3C0-4E72-9565-F002FAF3B8D0}"/>
              </a:ext>
            </a:extLst>
          </p:cNvPr>
          <p:cNvSpPr/>
          <p:nvPr/>
        </p:nvSpPr>
        <p:spPr>
          <a:xfrm>
            <a:off x="630000" y="4916265"/>
            <a:ext cx="8702686" cy="6245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D. </a:t>
            </a:r>
            <a:r>
              <a:rPr lang="en-US" dirty="0">
                <a:solidFill>
                  <a:schemeClr val="tx1"/>
                </a:solidFill>
              </a:rPr>
              <a:t>None of the above</a:t>
            </a:r>
          </a:p>
        </p:txBody>
      </p:sp>
      <p:sp>
        <p:nvSpPr>
          <p:cNvPr id="15" name="Rectangle 14">
            <a:extLst>
              <a:ext uri="{FF2B5EF4-FFF2-40B4-BE49-F238E27FC236}">
                <a16:creationId xmlns:a16="http://schemas.microsoft.com/office/drawing/2014/main" id="{29A43233-E09C-4F6D-A254-86948031152F}"/>
              </a:ext>
            </a:extLst>
          </p:cNvPr>
          <p:cNvSpPr/>
          <p:nvPr/>
        </p:nvSpPr>
        <p:spPr>
          <a:xfrm>
            <a:off x="629999" y="1659334"/>
            <a:ext cx="11219101" cy="914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dirty="0">
                <a:solidFill>
                  <a:schemeClr val="tx1"/>
                </a:solidFill>
              </a:rPr>
              <a:t>Q2. During the model design process to predict visitor demand, what was the most critical aspect to consider?</a:t>
            </a:r>
          </a:p>
        </p:txBody>
      </p:sp>
      <p:sp>
        <p:nvSpPr>
          <p:cNvPr id="17" name="Rectangle 16">
            <a:extLst>
              <a:ext uri="{FF2B5EF4-FFF2-40B4-BE49-F238E27FC236}">
                <a16:creationId xmlns:a16="http://schemas.microsoft.com/office/drawing/2014/main" id="{9CE4C6AF-C6AD-456C-83ED-052CF9A631B4}"/>
              </a:ext>
            </a:extLst>
          </p:cNvPr>
          <p:cNvSpPr/>
          <p:nvPr/>
        </p:nvSpPr>
        <p:spPr>
          <a:xfrm flipH="1">
            <a:off x="0" y="438622"/>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pic>
        <p:nvPicPr>
          <p:cNvPr id="14" name="Graphic 13">
            <a:extLst>
              <a:ext uri="{FF2B5EF4-FFF2-40B4-BE49-F238E27FC236}">
                <a16:creationId xmlns:a16="http://schemas.microsoft.com/office/drawing/2014/main" id="{C719C5AA-4BD1-4BD2-AEDE-70E9373A41C9}"/>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7363" t="43832" r="15615"/>
          <a:stretch/>
        </p:blipFill>
        <p:spPr>
          <a:xfrm rot="5400000">
            <a:off x="4414443" y="-919556"/>
            <a:ext cx="6858000" cy="8697111"/>
          </a:xfrm>
          <a:prstGeom prst="rect">
            <a:avLst/>
          </a:prstGeom>
        </p:spPr>
      </p:pic>
    </p:spTree>
    <p:custDataLst>
      <p:tags r:id="rId1"/>
    </p:custDataLst>
    <p:extLst>
      <p:ext uri="{BB962C8B-B14F-4D97-AF65-F5344CB8AC3E}">
        <p14:creationId xmlns:p14="http://schemas.microsoft.com/office/powerpoint/2010/main" val="1839064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154B53-35F4-4E96-8A8B-50FDE6644D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BC154B53-35F4-4E96-8A8B-50FDE6644D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153C12F-798E-4B75-A29D-5D79D1895E8D}"/>
              </a:ext>
            </a:extLst>
          </p:cNvPr>
          <p:cNvPicPr>
            <a:picLocks noChangeAspect="1"/>
          </p:cNvPicPr>
          <p:nvPr/>
        </p:nvPicPr>
        <p:blipFill>
          <a:blip r:embed="rId6"/>
          <a:stretch>
            <a:fillRect/>
          </a:stretch>
        </p:blipFill>
        <p:spPr>
          <a:xfrm>
            <a:off x="-1092" y="0"/>
            <a:ext cx="4610100" cy="6858000"/>
          </a:xfrm>
          <a:prstGeom prst="rect">
            <a:avLst/>
          </a:prstGeom>
        </p:spPr>
      </p:pic>
      <p:sp>
        <p:nvSpPr>
          <p:cNvPr id="6" name="Rectangle 5">
            <a:extLst>
              <a:ext uri="{FF2B5EF4-FFF2-40B4-BE49-F238E27FC236}">
                <a16:creationId xmlns:a16="http://schemas.microsoft.com/office/drawing/2014/main" id="{958D658C-40E9-43F0-9764-ED4D8C421C9E}"/>
              </a:ext>
            </a:extLst>
          </p:cNvPr>
          <p:cNvSpPr/>
          <p:nvPr/>
        </p:nvSpPr>
        <p:spPr>
          <a:xfrm>
            <a:off x="-1092" y="0"/>
            <a:ext cx="4609380" cy="6857999"/>
          </a:xfrm>
          <a:prstGeom prst="rect">
            <a:avLst/>
          </a:prstGeom>
          <a:solidFill>
            <a:srgbClr val="000000">
              <a:alpha val="51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7" name="Rectangle 6">
            <a:extLst>
              <a:ext uri="{FF2B5EF4-FFF2-40B4-BE49-F238E27FC236}">
                <a16:creationId xmlns:a16="http://schemas.microsoft.com/office/drawing/2014/main" id="{EFC5B33E-116B-40F0-AA1D-63514D437AC3}"/>
              </a:ext>
            </a:extLst>
          </p:cNvPr>
          <p:cNvSpPr/>
          <p:nvPr/>
        </p:nvSpPr>
        <p:spPr>
          <a:xfrm flipH="1">
            <a:off x="4433930" y="1233771"/>
            <a:ext cx="182880" cy="822960"/>
          </a:xfrm>
          <a:prstGeom prst="rect">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8" name="TextBox 7">
            <a:extLst>
              <a:ext uri="{FF2B5EF4-FFF2-40B4-BE49-F238E27FC236}">
                <a16:creationId xmlns:a16="http://schemas.microsoft.com/office/drawing/2014/main" id="{CD948385-2EDC-43EA-82F8-3E9523EF77E4}"/>
              </a:ext>
            </a:extLst>
          </p:cNvPr>
          <p:cNvSpPr txBox="1"/>
          <p:nvPr/>
        </p:nvSpPr>
        <p:spPr>
          <a:xfrm>
            <a:off x="384676" y="1399030"/>
            <a:ext cx="386247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a:r>
              <a:rPr lang="en-US" sz="3200" dirty="0">
                <a:solidFill>
                  <a:schemeClr val="bg1"/>
                </a:solidFill>
                <a:sym typeface="+mn-lt"/>
              </a:rPr>
              <a:t>Content</a:t>
            </a:r>
          </a:p>
        </p:txBody>
      </p:sp>
      <p:sp>
        <p:nvSpPr>
          <p:cNvPr id="9" name="Rectangle 8">
            <a:extLst>
              <a:ext uri="{FF2B5EF4-FFF2-40B4-BE49-F238E27FC236}">
                <a16:creationId xmlns:a16="http://schemas.microsoft.com/office/drawing/2014/main" id="{0F4AA471-6635-43E4-883C-158A2BCFBA01}"/>
              </a:ext>
            </a:extLst>
          </p:cNvPr>
          <p:cNvSpPr/>
          <p:nvPr/>
        </p:nvSpPr>
        <p:spPr>
          <a:xfrm>
            <a:off x="4930656" y="1530575"/>
            <a:ext cx="4627521" cy="54587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rgbClr val="000000"/>
                </a:solidFill>
                <a:sym typeface="+mn-lt"/>
              </a:rPr>
              <a:t>Where Are We in the Journey &amp; Learning Objectives</a:t>
            </a:r>
          </a:p>
        </p:txBody>
      </p:sp>
      <p:sp>
        <p:nvSpPr>
          <p:cNvPr id="13" name="Rectangle 12">
            <a:extLst>
              <a:ext uri="{FF2B5EF4-FFF2-40B4-BE49-F238E27FC236}">
                <a16:creationId xmlns:a16="http://schemas.microsoft.com/office/drawing/2014/main" id="{8DB1422F-8056-47E4-8BA9-0801CD1A4C08}"/>
              </a:ext>
            </a:extLst>
          </p:cNvPr>
          <p:cNvSpPr/>
          <p:nvPr/>
        </p:nvSpPr>
        <p:spPr>
          <a:xfrm>
            <a:off x="4930656" y="2409784"/>
            <a:ext cx="5165844" cy="166199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solidFill>
                  <a:srgbClr val="000000"/>
                </a:solidFill>
                <a:sym typeface="+mn-lt"/>
              </a:rPr>
              <a:t>Agenda for Today</a:t>
            </a:r>
          </a:p>
          <a:p>
            <a:pPr marL="432000" lvl="1" indent="-288000">
              <a:buClr>
                <a:srgbClr val="171D3C">
                  <a:lumMod val="100000"/>
                </a:srgbClr>
              </a:buClr>
              <a:buSzPct val="100000"/>
              <a:buFont typeface="Trebuchet MS" panose="020B0603020202020204" pitchFamily="34" charset="0"/>
              <a:buChar char="•"/>
            </a:pPr>
            <a:r>
              <a:rPr lang="en-US" dirty="0">
                <a:solidFill>
                  <a:srgbClr val="000000">
                    <a:lumMod val="100000"/>
                  </a:srgbClr>
                </a:solidFill>
                <a:sym typeface="+mn-lt"/>
              </a:rPr>
              <a:t>Case study Introduction</a:t>
            </a:r>
          </a:p>
          <a:p>
            <a:pPr marL="432000" lvl="1" indent="-288000">
              <a:buClr>
                <a:srgbClr val="171D3C">
                  <a:lumMod val="100000"/>
                </a:srgbClr>
              </a:buClr>
              <a:buSzPct val="100000"/>
              <a:buFont typeface="Trebuchet MS" panose="020B0603020202020204" pitchFamily="34" charset="0"/>
              <a:buChar char="•"/>
            </a:pPr>
            <a:r>
              <a:rPr lang="en-US" dirty="0">
                <a:solidFill>
                  <a:srgbClr val="000000">
                    <a:lumMod val="100000"/>
                  </a:srgbClr>
                </a:solidFill>
                <a:sym typeface="+mn-lt"/>
              </a:rPr>
              <a:t>Pop up Quiz – Common Challenges</a:t>
            </a:r>
          </a:p>
          <a:p>
            <a:pPr marL="432000" lvl="1" indent="-288000">
              <a:buClr>
                <a:srgbClr val="171D3C">
                  <a:lumMod val="100000"/>
                </a:srgbClr>
              </a:buClr>
              <a:buSzPct val="100000"/>
              <a:buFont typeface="Trebuchet MS" panose="020B0603020202020204" pitchFamily="34" charset="0"/>
              <a:buChar char="•"/>
            </a:pPr>
            <a:r>
              <a:rPr lang="en-US" dirty="0">
                <a:solidFill>
                  <a:srgbClr val="000000">
                    <a:lumMod val="100000"/>
                  </a:srgbClr>
                </a:solidFill>
                <a:sym typeface="+mn-lt"/>
              </a:rPr>
              <a:t>How to overcome these challenges?</a:t>
            </a:r>
          </a:p>
          <a:p>
            <a:pPr marL="432000" lvl="1" indent="-288000">
              <a:buClr>
                <a:srgbClr val="171D3C">
                  <a:lumMod val="100000"/>
                </a:srgbClr>
              </a:buClr>
              <a:buSzPct val="100000"/>
              <a:buFont typeface="Trebuchet MS" panose="020B0603020202020204" pitchFamily="34" charset="0"/>
              <a:buChar char="•"/>
            </a:pPr>
            <a:r>
              <a:rPr lang="en-US" dirty="0">
                <a:solidFill>
                  <a:srgbClr val="000000">
                    <a:lumMod val="100000"/>
                  </a:srgbClr>
                </a:solidFill>
                <a:sym typeface="+mn-lt"/>
              </a:rPr>
              <a:t>Application to Capstone project</a:t>
            </a:r>
          </a:p>
          <a:p>
            <a:pPr marL="432000" lvl="1" indent="-288000">
              <a:buClr>
                <a:srgbClr val="171D3C">
                  <a:lumMod val="100000"/>
                </a:srgbClr>
              </a:buClr>
              <a:buSzPct val="100000"/>
              <a:buFont typeface="Trebuchet MS" panose="020B0603020202020204" pitchFamily="34" charset="0"/>
              <a:buChar char="•"/>
            </a:pPr>
            <a:r>
              <a:rPr lang="en-US" dirty="0">
                <a:solidFill>
                  <a:srgbClr val="000000">
                    <a:lumMod val="100000"/>
                  </a:srgbClr>
                </a:solidFill>
                <a:sym typeface="+mn-lt"/>
              </a:rPr>
              <a:t>Group activity</a:t>
            </a:r>
          </a:p>
        </p:txBody>
      </p:sp>
      <p:sp>
        <p:nvSpPr>
          <p:cNvPr id="15" name="Rectangle 14">
            <a:extLst>
              <a:ext uri="{FF2B5EF4-FFF2-40B4-BE49-F238E27FC236}">
                <a16:creationId xmlns:a16="http://schemas.microsoft.com/office/drawing/2014/main" id="{64F65949-2B80-49AC-9F8A-62E549795DE3}"/>
              </a:ext>
            </a:extLst>
          </p:cNvPr>
          <p:cNvSpPr/>
          <p:nvPr/>
        </p:nvSpPr>
        <p:spPr>
          <a:xfrm>
            <a:off x="4930656" y="3980956"/>
            <a:ext cx="4627521" cy="54587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rgbClr val="000000"/>
                </a:solidFill>
                <a:sym typeface="+mn-lt"/>
              </a:rPr>
              <a:t>Wrap up</a:t>
            </a:r>
          </a:p>
        </p:txBody>
      </p:sp>
      <p:cxnSp>
        <p:nvCxnSpPr>
          <p:cNvPr id="19" name="Straight Connector 18">
            <a:extLst>
              <a:ext uri="{FF2B5EF4-FFF2-40B4-BE49-F238E27FC236}">
                <a16:creationId xmlns:a16="http://schemas.microsoft.com/office/drawing/2014/main" id="{49EBD75D-E551-4083-BFFC-5B13CBD67DA1}"/>
              </a:ext>
            </a:extLst>
          </p:cNvPr>
          <p:cNvCxnSpPr/>
          <p:nvPr/>
        </p:nvCxnSpPr>
        <p:spPr>
          <a:xfrm>
            <a:off x="4930656" y="2247597"/>
            <a:ext cx="663134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35A894B-D284-433D-B316-783AA84CE721}"/>
              </a:ext>
            </a:extLst>
          </p:cNvPr>
          <p:cNvCxnSpPr/>
          <p:nvPr/>
        </p:nvCxnSpPr>
        <p:spPr>
          <a:xfrm>
            <a:off x="4930656" y="4086644"/>
            <a:ext cx="663134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853FB98-5BE4-4C50-9EC0-672D6909166E}"/>
              </a:ext>
            </a:extLst>
          </p:cNvPr>
          <p:cNvCxnSpPr/>
          <p:nvPr/>
        </p:nvCxnSpPr>
        <p:spPr>
          <a:xfrm>
            <a:off x="4930656" y="4697978"/>
            <a:ext cx="663134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1BEBD48-BA9E-44BB-B41D-A0AADE63D20E}"/>
              </a:ext>
            </a:extLst>
          </p:cNvPr>
          <p:cNvSpPr/>
          <p:nvPr/>
        </p:nvSpPr>
        <p:spPr>
          <a:xfrm>
            <a:off x="10517852" y="1530575"/>
            <a:ext cx="1044148" cy="54587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tx1"/>
                </a:solidFill>
                <a:sym typeface="+mn-lt"/>
              </a:rPr>
              <a:t>2 min</a:t>
            </a:r>
          </a:p>
        </p:txBody>
      </p:sp>
      <p:sp>
        <p:nvSpPr>
          <p:cNvPr id="31" name="Rectangle 30">
            <a:extLst>
              <a:ext uri="{FF2B5EF4-FFF2-40B4-BE49-F238E27FC236}">
                <a16:creationId xmlns:a16="http://schemas.microsoft.com/office/drawing/2014/main" id="{FC5A7D77-0DD8-472D-9B08-C413CF398DB4}"/>
              </a:ext>
            </a:extLst>
          </p:cNvPr>
          <p:cNvSpPr/>
          <p:nvPr/>
        </p:nvSpPr>
        <p:spPr>
          <a:xfrm>
            <a:off x="10517852" y="2649832"/>
            <a:ext cx="1044148" cy="13311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b="1" dirty="0">
                <a:solidFill>
                  <a:schemeClr val="tx1"/>
                </a:solidFill>
                <a:sym typeface="+mn-lt"/>
              </a:rPr>
              <a:t>8 min</a:t>
            </a:r>
          </a:p>
          <a:p>
            <a:pPr algn="ctr"/>
            <a:r>
              <a:rPr lang="en-US" b="1" dirty="0">
                <a:solidFill>
                  <a:schemeClr val="tx1"/>
                </a:solidFill>
                <a:sym typeface="+mn-lt"/>
              </a:rPr>
              <a:t>15 min</a:t>
            </a:r>
          </a:p>
          <a:p>
            <a:pPr algn="ctr"/>
            <a:r>
              <a:rPr lang="en-US" b="1" dirty="0">
                <a:solidFill>
                  <a:schemeClr val="tx1"/>
                </a:solidFill>
                <a:sym typeface="+mn-lt"/>
              </a:rPr>
              <a:t>8 min</a:t>
            </a:r>
          </a:p>
          <a:p>
            <a:pPr algn="ctr"/>
            <a:r>
              <a:rPr lang="en-US" b="1" dirty="0">
                <a:solidFill>
                  <a:schemeClr val="tx1"/>
                </a:solidFill>
                <a:sym typeface="+mn-lt"/>
              </a:rPr>
              <a:t>10 min</a:t>
            </a:r>
          </a:p>
          <a:p>
            <a:pPr algn="ctr"/>
            <a:r>
              <a:rPr lang="en-US" b="1" dirty="0">
                <a:solidFill>
                  <a:schemeClr val="tx1"/>
                </a:solidFill>
                <a:sym typeface="+mn-lt"/>
              </a:rPr>
              <a:t>15 min</a:t>
            </a:r>
          </a:p>
        </p:txBody>
      </p:sp>
      <p:sp>
        <p:nvSpPr>
          <p:cNvPr id="32" name="Rectangle 31">
            <a:extLst>
              <a:ext uri="{FF2B5EF4-FFF2-40B4-BE49-F238E27FC236}">
                <a16:creationId xmlns:a16="http://schemas.microsoft.com/office/drawing/2014/main" id="{CDFF2FCA-0D4D-4560-BCFB-125F786C1D9B}"/>
              </a:ext>
            </a:extLst>
          </p:cNvPr>
          <p:cNvSpPr/>
          <p:nvPr/>
        </p:nvSpPr>
        <p:spPr>
          <a:xfrm>
            <a:off x="10517852" y="3980956"/>
            <a:ext cx="1044148" cy="54587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tx1"/>
                </a:solidFill>
                <a:sym typeface="+mn-lt"/>
              </a:rPr>
              <a:t>2 min</a:t>
            </a:r>
          </a:p>
        </p:txBody>
      </p:sp>
      <p:sp>
        <p:nvSpPr>
          <p:cNvPr id="35" name="Rectangle 34">
            <a:extLst>
              <a:ext uri="{FF2B5EF4-FFF2-40B4-BE49-F238E27FC236}">
                <a16:creationId xmlns:a16="http://schemas.microsoft.com/office/drawing/2014/main" id="{000BEF40-F757-42E2-9571-B1B27B4878F8}"/>
              </a:ext>
            </a:extLst>
          </p:cNvPr>
          <p:cNvSpPr/>
          <p:nvPr/>
        </p:nvSpPr>
        <p:spPr>
          <a:xfrm>
            <a:off x="10517852" y="696257"/>
            <a:ext cx="1044148" cy="545873"/>
          </a:xfrm>
          <a:prstGeom prst="rect">
            <a:avLst/>
          </a:prstGeom>
          <a:noFill/>
          <a:ln w="28575" cap="rnd" cmpd="sng" algn="ctr">
            <a:solidFill>
              <a:srgbClr val="29BA74"/>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E3558"/>
                </a:solidFill>
                <a:sym typeface="+mn-lt"/>
              </a:rPr>
              <a:t>60 min</a:t>
            </a:r>
          </a:p>
        </p:txBody>
      </p:sp>
    </p:spTree>
    <p:extLst>
      <p:ext uri="{BB962C8B-B14F-4D97-AF65-F5344CB8AC3E}">
        <p14:creationId xmlns:p14="http://schemas.microsoft.com/office/powerpoint/2010/main" val="805549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BBDE9-1E50-4D20-8B59-B57AA78B52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3" name="Object 2" hidden="1">
                        <a:extLst>
                          <a:ext uri="{FF2B5EF4-FFF2-40B4-BE49-F238E27FC236}">
                            <a16:creationId xmlns:a16="http://schemas.microsoft.com/office/drawing/2014/main" id="{D31BBDE9-1E50-4D20-8B59-B57AA78B52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C09EA2-80EA-47C2-96F8-8EFF178DD37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56203"/>
            <a:ext cx="10933350" cy="387798"/>
          </a:xfrm>
        </p:spPr>
        <p:txBody>
          <a:bodyPr vert="horz"/>
          <a:lstStyle/>
          <a:p>
            <a:r>
              <a:rPr lang="en-US" sz="2800" dirty="0"/>
              <a:t>Pop Quiz Question 3</a:t>
            </a:r>
          </a:p>
        </p:txBody>
      </p:sp>
      <p:sp>
        <p:nvSpPr>
          <p:cNvPr id="10" name="Rectangle 9">
            <a:extLst>
              <a:ext uri="{FF2B5EF4-FFF2-40B4-BE49-F238E27FC236}">
                <a16:creationId xmlns:a16="http://schemas.microsoft.com/office/drawing/2014/main" id="{7E2ADD48-F020-47B3-B70D-97B269215F66}"/>
              </a:ext>
            </a:extLst>
          </p:cNvPr>
          <p:cNvSpPr/>
          <p:nvPr/>
        </p:nvSpPr>
        <p:spPr>
          <a:xfrm>
            <a:off x="630000" y="2659744"/>
            <a:ext cx="8702686"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A. </a:t>
            </a:r>
            <a:r>
              <a:rPr lang="en-SG" b="1" dirty="0">
                <a:solidFill>
                  <a:schemeClr val="tx1"/>
                </a:solidFill>
              </a:rPr>
              <a:t>C</a:t>
            </a:r>
            <a:r>
              <a:rPr lang="en-SG" dirty="0">
                <a:solidFill>
                  <a:schemeClr val="tx1"/>
                </a:solidFill>
              </a:rPr>
              <a:t>ode package that is fully automated, helping score outputs for future on an ongoing basis</a:t>
            </a:r>
          </a:p>
        </p:txBody>
      </p:sp>
      <p:sp>
        <p:nvSpPr>
          <p:cNvPr id="11" name="Rectangle 10">
            <a:extLst>
              <a:ext uri="{FF2B5EF4-FFF2-40B4-BE49-F238E27FC236}">
                <a16:creationId xmlns:a16="http://schemas.microsoft.com/office/drawing/2014/main" id="{9F2CC9FD-E789-4347-B1BE-F1F8C98495CE}"/>
              </a:ext>
            </a:extLst>
          </p:cNvPr>
          <p:cNvSpPr/>
          <p:nvPr/>
        </p:nvSpPr>
        <p:spPr>
          <a:xfrm>
            <a:off x="629999" y="4164092"/>
            <a:ext cx="10828575"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C. </a:t>
            </a:r>
            <a:r>
              <a:rPr lang="en-US" dirty="0">
                <a:solidFill>
                  <a:schemeClr val="tx1"/>
                </a:solidFill>
              </a:rPr>
              <a:t>Well commented codes with modular functions and external scripts as required</a:t>
            </a:r>
            <a:endParaRPr lang="en-SG" dirty="0">
              <a:solidFill>
                <a:schemeClr val="tx1"/>
              </a:solidFill>
            </a:endParaRPr>
          </a:p>
        </p:txBody>
      </p:sp>
      <p:sp>
        <p:nvSpPr>
          <p:cNvPr id="12" name="Rectangle 11">
            <a:extLst>
              <a:ext uri="{FF2B5EF4-FFF2-40B4-BE49-F238E27FC236}">
                <a16:creationId xmlns:a16="http://schemas.microsoft.com/office/drawing/2014/main" id="{EE442290-B90D-44B8-9B8F-68767AD8C48E}"/>
              </a:ext>
            </a:extLst>
          </p:cNvPr>
          <p:cNvSpPr/>
          <p:nvPr/>
        </p:nvSpPr>
        <p:spPr>
          <a:xfrm>
            <a:off x="630000" y="3411918"/>
            <a:ext cx="10133250" cy="62454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B. </a:t>
            </a:r>
            <a:r>
              <a:rPr lang="en-SG" dirty="0">
                <a:solidFill>
                  <a:schemeClr val="tx1"/>
                </a:solidFill>
              </a:rPr>
              <a:t>Comprehensive document explaining the business assumptions, model build process, features created etc. </a:t>
            </a:r>
            <a:endParaRPr lang="en-US" dirty="0">
              <a:solidFill>
                <a:schemeClr val="tx1"/>
              </a:solidFill>
            </a:endParaRPr>
          </a:p>
        </p:txBody>
      </p:sp>
      <p:sp>
        <p:nvSpPr>
          <p:cNvPr id="13" name="Rectangle 12">
            <a:extLst>
              <a:ext uri="{FF2B5EF4-FFF2-40B4-BE49-F238E27FC236}">
                <a16:creationId xmlns:a16="http://schemas.microsoft.com/office/drawing/2014/main" id="{20527278-D3C0-4E72-9565-F002FAF3B8D0}"/>
              </a:ext>
            </a:extLst>
          </p:cNvPr>
          <p:cNvSpPr/>
          <p:nvPr/>
        </p:nvSpPr>
        <p:spPr>
          <a:xfrm>
            <a:off x="630000" y="4916265"/>
            <a:ext cx="8702686" cy="62454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dirty="0">
                <a:solidFill>
                  <a:schemeClr val="tx1"/>
                </a:solidFill>
              </a:rPr>
              <a:t>D. </a:t>
            </a:r>
            <a:r>
              <a:rPr lang="en-US" dirty="0">
                <a:solidFill>
                  <a:schemeClr val="tx1"/>
                </a:solidFill>
              </a:rPr>
              <a:t>All of the above</a:t>
            </a:r>
          </a:p>
        </p:txBody>
      </p:sp>
      <p:sp>
        <p:nvSpPr>
          <p:cNvPr id="15" name="Rectangle 14">
            <a:extLst>
              <a:ext uri="{FF2B5EF4-FFF2-40B4-BE49-F238E27FC236}">
                <a16:creationId xmlns:a16="http://schemas.microsoft.com/office/drawing/2014/main" id="{29A43233-E09C-4F6D-A254-86948031152F}"/>
              </a:ext>
            </a:extLst>
          </p:cNvPr>
          <p:cNvSpPr/>
          <p:nvPr/>
        </p:nvSpPr>
        <p:spPr>
          <a:xfrm>
            <a:off x="629999" y="1659334"/>
            <a:ext cx="11219101" cy="9144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dirty="0">
                <a:solidFill>
                  <a:schemeClr val="tx1"/>
                </a:solidFill>
              </a:rPr>
              <a:t>Q3. For the model deployment phase that you handover, what would be critical for the client?</a:t>
            </a:r>
          </a:p>
        </p:txBody>
      </p:sp>
      <p:sp>
        <p:nvSpPr>
          <p:cNvPr id="17" name="Rectangle 16">
            <a:extLst>
              <a:ext uri="{FF2B5EF4-FFF2-40B4-BE49-F238E27FC236}">
                <a16:creationId xmlns:a16="http://schemas.microsoft.com/office/drawing/2014/main" id="{9CE4C6AF-C6AD-456C-83ED-052CF9A631B4}"/>
              </a:ext>
            </a:extLst>
          </p:cNvPr>
          <p:cNvSpPr/>
          <p:nvPr/>
        </p:nvSpPr>
        <p:spPr>
          <a:xfrm flipH="1">
            <a:off x="0" y="438622"/>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pic>
        <p:nvPicPr>
          <p:cNvPr id="14" name="Graphic 13">
            <a:extLst>
              <a:ext uri="{FF2B5EF4-FFF2-40B4-BE49-F238E27FC236}">
                <a16:creationId xmlns:a16="http://schemas.microsoft.com/office/drawing/2014/main" id="{C719C5AA-4BD1-4BD2-AEDE-70E9373A41C9}"/>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37363" t="43832" r="15615"/>
          <a:stretch/>
        </p:blipFill>
        <p:spPr>
          <a:xfrm rot="5400000">
            <a:off x="4414443" y="-919556"/>
            <a:ext cx="6858000" cy="8697111"/>
          </a:xfrm>
          <a:prstGeom prst="rect">
            <a:avLst/>
          </a:prstGeom>
        </p:spPr>
      </p:pic>
    </p:spTree>
    <p:custDataLst>
      <p:tags r:id="rId1"/>
    </p:custDataLst>
    <p:extLst>
      <p:ext uri="{BB962C8B-B14F-4D97-AF65-F5344CB8AC3E}">
        <p14:creationId xmlns:p14="http://schemas.microsoft.com/office/powerpoint/2010/main" val="1355083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2DD77E-EC1A-4806-A914-A632DFBCB4B7}"/>
              </a:ext>
            </a:extLst>
          </p:cNvPr>
          <p:cNvGraphicFramePr>
            <a:graphicFrameLocks noChangeAspect="1"/>
          </p:cNvGraphicFramePr>
          <p:nvPr>
            <p:custDataLst>
              <p:tags r:id="rId1"/>
            </p:custDataLst>
            <p:extLst>
              <p:ext uri="{D42A27DB-BD31-4B8C-83A1-F6EECF244321}">
                <p14:modId xmlns:p14="http://schemas.microsoft.com/office/powerpoint/2010/main" val="160115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012DD77E-EC1A-4806-A914-A632DFBCB4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7435451E-1B2C-47E2-AEC9-805C420EE9C9}"/>
              </a:ext>
            </a:extLst>
          </p:cNvPr>
          <p:cNvSpPr>
            <a:spLocks noGrp="1"/>
          </p:cNvSpPr>
          <p:nvPr>
            <p:ph type="title"/>
          </p:nvPr>
        </p:nvSpPr>
        <p:spPr/>
        <p:txBody>
          <a:bodyPr vert="horz"/>
          <a:lstStyle/>
          <a:p>
            <a:r>
              <a:rPr lang="en-US" dirty="0"/>
              <a:t>Key takeaways</a:t>
            </a:r>
          </a:p>
        </p:txBody>
      </p:sp>
      <p:sp>
        <p:nvSpPr>
          <p:cNvPr id="5" name="Rectangle 4">
            <a:extLst>
              <a:ext uri="{FF2B5EF4-FFF2-40B4-BE49-F238E27FC236}">
                <a16:creationId xmlns:a16="http://schemas.microsoft.com/office/drawing/2014/main" id="{DCAA5039-7AA2-4F01-9925-1CBD5F0E781C}"/>
              </a:ext>
            </a:extLst>
          </p:cNvPr>
          <p:cNvSpPr/>
          <p:nvPr/>
        </p:nvSpPr>
        <p:spPr>
          <a:xfrm>
            <a:off x="4619625" y="1489899"/>
            <a:ext cx="6942375" cy="3240439"/>
          </a:xfrm>
          <a:prstGeom prst="rect">
            <a:avLst/>
          </a:prstGeom>
        </p:spPr>
        <p:txBody>
          <a:bodyPr wrap="square">
            <a:spAutoFit/>
          </a:bodyPr>
          <a:lstStyle/>
          <a:p>
            <a:pPr marL="342900" lvl="0" indent="-342900">
              <a:lnSpc>
                <a:spcPct val="115000"/>
              </a:lnSpc>
              <a:spcAft>
                <a:spcPts val="600"/>
              </a:spcAft>
              <a:buFont typeface="Symbol" panose="05050102010706020507" pitchFamily="18" charset="2"/>
              <a:buChar char=""/>
            </a:pPr>
            <a:r>
              <a:rPr lang="en-SG" dirty="0">
                <a:ea typeface="Times New Roman" panose="02020603050405020304" pitchFamily="18" charset="0"/>
                <a:cs typeface="Henderson BCG Serif" panose="02030502050406020204" pitchFamily="18" charset="0"/>
              </a:rPr>
              <a:t>Identification of right model evaluation metric is a very important factor for model adoption into the business </a:t>
            </a:r>
          </a:p>
          <a:p>
            <a:pPr marL="342900" lvl="0" indent="-342900">
              <a:lnSpc>
                <a:spcPct val="115000"/>
              </a:lnSpc>
              <a:spcAft>
                <a:spcPts val="600"/>
              </a:spcAft>
              <a:buFont typeface="Symbol" panose="05050102010706020507" pitchFamily="18" charset="2"/>
              <a:buChar char=""/>
            </a:pPr>
            <a:endParaRPr lang="en-US" dirty="0">
              <a:effectLst/>
              <a:ea typeface="Times New Roman" panose="02020603050405020304" pitchFamily="18" charset="0"/>
              <a:cs typeface="Henderson BCG Serif" panose="02030502050406020204" pitchFamily="18" charset="0"/>
            </a:endParaRPr>
          </a:p>
          <a:p>
            <a:pPr marL="342900" lvl="0" indent="-342900">
              <a:lnSpc>
                <a:spcPct val="115000"/>
              </a:lnSpc>
              <a:spcAft>
                <a:spcPts val="600"/>
              </a:spcAft>
              <a:buFont typeface="Symbol" panose="05050102010706020507" pitchFamily="18" charset="2"/>
              <a:buChar char=""/>
            </a:pPr>
            <a:r>
              <a:rPr lang="en-SG" dirty="0"/>
              <a:t>There is a trade-off between prediction accuracy and model interpretability and data scientists must do the balancing act by selecting the appropriate modelling approach</a:t>
            </a:r>
          </a:p>
          <a:p>
            <a:pPr marL="342900" lvl="0" indent="-342900">
              <a:lnSpc>
                <a:spcPct val="115000"/>
              </a:lnSpc>
              <a:spcAft>
                <a:spcPts val="600"/>
              </a:spcAft>
              <a:buFont typeface="Symbol" panose="05050102010706020507" pitchFamily="18" charset="2"/>
              <a:buChar char=""/>
            </a:pPr>
            <a:endParaRPr lang="en-US" dirty="0">
              <a:ea typeface="Times New Roman" panose="02020603050405020304" pitchFamily="18" charset="0"/>
              <a:cs typeface="Henderson BCG Serif" panose="02030502050406020204" pitchFamily="18" charset="0"/>
            </a:endParaRPr>
          </a:p>
          <a:p>
            <a:pPr marL="342900" lvl="0" indent="-342900">
              <a:lnSpc>
                <a:spcPct val="115000"/>
              </a:lnSpc>
              <a:spcAft>
                <a:spcPts val="600"/>
              </a:spcAft>
              <a:buFont typeface="Symbol" panose="05050102010706020507" pitchFamily="18" charset="2"/>
              <a:buChar char=""/>
            </a:pPr>
            <a:r>
              <a:rPr lang="en-US" dirty="0">
                <a:ea typeface="Times New Roman" panose="02020603050405020304" pitchFamily="18" charset="0"/>
                <a:cs typeface="Henderson BCG Serif" panose="02030502050406020204" pitchFamily="18" charset="0"/>
              </a:rPr>
              <a:t>Build a ML pipeline with automated code for smooth deployment of Machine Learning models to production</a:t>
            </a:r>
          </a:p>
        </p:txBody>
      </p:sp>
    </p:spTree>
    <p:extLst>
      <p:ext uri="{BB962C8B-B14F-4D97-AF65-F5344CB8AC3E}">
        <p14:creationId xmlns:p14="http://schemas.microsoft.com/office/powerpoint/2010/main" val="4125502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AFFE47-8612-4A37-8A53-7BEB8D3E4A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DAAFFE47-8612-4A37-8A53-7BEB8D3E4A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75FECF-ABF8-499D-BB9E-CCBD9635C000}"/>
              </a:ext>
            </a:extLst>
          </p:cNvPr>
          <p:cNvSpPr>
            <a:spLocks noGrp="1"/>
          </p:cNvSpPr>
          <p:nvPr>
            <p:ph type="title"/>
          </p:nvPr>
        </p:nvSpPr>
        <p:spPr/>
        <p:txBody>
          <a:bodyPr vert="horz"/>
          <a:lstStyle/>
          <a:p>
            <a:r>
              <a:rPr lang="en-US" dirty="0"/>
              <a:t>Key takeaways</a:t>
            </a:r>
          </a:p>
        </p:txBody>
      </p:sp>
      <p:sp>
        <p:nvSpPr>
          <p:cNvPr id="7" name="Rectangle 6">
            <a:extLst>
              <a:ext uri="{FF2B5EF4-FFF2-40B4-BE49-F238E27FC236}">
                <a16:creationId xmlns:a16="http://schemas.microsoft.com/office/drawing/2014/main" id="{C5D070DC-15BD-4639-A38D-30914AC2379E}"/>
              </a:ext>
            </a:extLst>
          </p:cNvPr>
          <p:cNvSpPr/>
          <p:nvPr/>
        </p:nvSpPr>
        <p:spPr>
          <a:xfrm>
            <a:off x="562315" y="2201720"/>
            <a:ext cx="5093013" cy="3908762"/>
          </a:xfrm>
          <a:prstGeom prst="rect">
            <a:avLst/>
          </a:prstGeom>
        </p:spPr>
        <p:txBody>
          <a:bodyPr wrap="square" lIns="0" tIns="0" rIns="0" bIns="0">
            <a:spAutoFit/>
          </a:bodyPr>
          <a:lstStyle/>
          <a:p>
            <a:pPr marL="342900" indent="-342900">
              <a:spcBef>
                <a:spcPts val="600"/>
              </a:spcBef>
              <a:spcAft>
                <a:spcPts val="600"/>
              </a:spcAft>
              <a:buClr>
                <a:schemeClr val="tx2">
                  <a:lumMod val="100000"/>
                </a:schemeClr>
              </a:buClr>
              <a:buSzPct val="100000"/>
              <a:buFont typeface="Symbol" panose="05050102010706020507" pitchFamily="18" charset="2"/>
              <a:buChar char=""/>
            </a:pPr>
            <a:r>
              <a:rPr lang="en-US" dirty="0">
                <a:cs typeface="Henderson BCG Serif" panose="02030502050406020204" pitchFamily="18" charset="0"/>
              </a:rPr>
              <a:t>Identification of right model evaluation metric is a very important factor for model adoption into the business </a:t>
            </a:r>
          </a:p>
          <a:p>
            <a:pPr marL="342900" indent="-342900">
              <a:spcBef>
                <a:spcPts val="600"/>
              </a:spcBef>
              <a:spcAft>
                <a:spcPts val="600"/>
              </a:spcAft>
              <a:buClr>
                <a:schemeClr val="tx2">
                  <a:lumMod val="100000"/>
                </a:schemeClr>
              </a:buClr>
              <a:buSzPct val="100000"/>
              <a:buFont typeface="Symbol" panose="05050102010706020507" pitchFamily="18" charset="2"/>
              <a:buChar char=""/>
            </a:pPr>
            <a:endParaRPr lang="en-US" dirty="0">
              <a:cs typeface="Henderson BCG Serif" panose="02030502050406020204" pitchFamily="18" charset="0"/>
            </a:endParaRPr>
          </a:p>
          <a:p>
            <a:pPr marL="342900" indent="-342900">
              <a:spcBef>
                <a:spcPts val="600"/>
              </a:spcBef>
              <a:spcAft>
                <a:spcPts val="600"/>
              </a:spcAft>
              <a:buClr>
                <a:schemeClr val="tx2">
                  <a:lumMod val="100000"/>
                </a:schemeClr>
              </a:buClr>
              <a:buSzPct val="100000"/>
              <a:buFont typeface="Symbol" panose="05050102010706020507" pitchFamily="18" charset="2"/>
              <a:buChar char=""/>
            </a:pPr>
            <a:r>
              <a:rPr lang="en-US" dirty="0">
                <a:cs typeface="Henderson BCG Serif" panose="02030502050406020204" pitchFamily="18" charset="0"/>
              </a:rPr>
              <a:t>There is a trade-off between prediction accuracy and model interpretability and data scientists must do the balancing act by selecting the appropriate modelling approach</a:t>
            </a:r>
          </a:p>
          <a:p>
            <a:pPr marL="342900" indent="-342900">
              <a:spcBef>
                <a:spcPts val="600"/>
              </a:spcBef>
              <a:spcAft>
                <a:spcPts val="600"/>
              </a:spcAft>
              <a:buClr>
                <a:schemeClr val="tx2">
                  <a:lumMod val="100000"/>
                </a:schemeClr>
              </a:buClr>
              <a:buSzPct val="100000"/>
              <a:buFont typeface="Symbol" panose="05050102010706020507" pitchFamily="18" charset="2"/>
              <a:buChar char=""/>
            </a:pPr>
            <a:endParaRPr lang="en-US" dirty="0">
              <a:cs typeface="Henderson BCG Serif" panose="02030502050406020204" pitchFamily="18" charset="0"/>
            </a:endParaRPr>
          </a:p>
          <a:p>
            <a:pPr marL="342900" indent="-342900">
              <a:spcBef>
                <a:spcPts val="600"/>
              </a:spcBef>
              <a:spcAft>
                <a:spcPts val="600"/>
              </a:spcAft>
              <a:buClr>
                <a:schemeClr val="tx2">
                  <a:lumMod val="100000"/>
                </a:schemeClr>
              </a:buClr>
              <a:buSzPct val="100000"/>
              <a:buFont typeface="Symbol" panose="05050102010706020507" pitchFamily="18" charset="2"/>
              <a:buChar char=""/>
            </a:pPr>
            <a:r>
              <a:rPr lang="en-US" dirty="0">
                <a:cs typeface="Henderson BCG Serif" panose="02030502050406020204" pitchFamily="18" charset="0"/>
              </a:rPr>
              <a:t>Build a ML pipeline with automated code for smooth deployment of Machine Learning models to production</a:t>
            </a:r>
          </a:p>
        </p:txBody>
      </p:sp>
      <p:cxnSp>
        <p:nvCxnSpPr>
          <p:cNvPr id="9" name="Straight Connector 8">
            <a:extLst>
              <a:ext uri="{FF2B5EF4-FFF2-40B4-BE49-F238E27FC236}">
                <a16:creationId xmlns:a16="http://schemas.microsoft.com/office/drawing/2014/main" id="{CA430D86-BE51-43B3-B64F-22AAD30FA38B}"/>
              </a:ext>
            </a:extLst>
          </p:cNvPr>
          <p:cNvCxnSpPr/>
          <p:nvPr/>
        </p:nvCxnSpPr>
        <p:spPr>
          <a:xfrm>
            <a:off x="6006352" y="1434357"/>
            <a:ext cx="0" cy="4679573"/>
          </a:xfrm>
          <a:prstGeom prst="line">
            <a:avLst/>
          </a:prstGeom>
          <a:ln w="9525" cap="rnd">
            <a:solidFill>
              <a:schemeClr val="accent5"/>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A34AE2C-C7D2-4360-8EE8-EA8C1AF7B238}"/>
              </a:ext>
            </a:extLst>
          </p:cNvPr>
          <p:cNvSpPr txBox="1"/>
          <p:nvPr/>
        </p:nvSpPr>
        <p:spPr>
          <a:xfrm>
            <a:off x="1640541" y="1335741"/>
            <a:ext cx="3039035" cy="6185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tx1"/>
                </a:solidFill>
              </a:rPr>
              <a:t>Case study</a:t>
            </a:r>
          </a:p>
        </p:txBody>
      </p:sp>
      <p:sp>
        <p:nvSpPr>
          <p:cNvPr id="11" name="TextBox 10">
            <a:extLst>
              <a:ext uri="{FF2B5EF4-FFF2-40B4-BE49-F238E27FC236}">
                <a16:creationId xmlns:a16="http://schemas.microsoft.com/office/drawing/2014/main" id="{27FBF4D8-E343-43FE-A593-8366219B6AEC}"/>
              </a:ext>
            </a:extLst>
          </p:cNvPr>
          <p:cNvSpPr txBox="1"/>
          <p:nvPr/>
        </p:nvSpPr>
        <p:spPr>
          <a:xfrm>
            <a:off x="7512424" y="1335741"/>
            <a:ext cx="3039035" cy="6185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chemeClr val="tx1"/>
                </a:solidFill>
              </a:rPr>
              <a:t>Sentosa capstone</a:t>
            </a:r>
          </a:p>
        </p:txBody>
      </p:sp>
      <p:sp>
        <p:nvSpPr>
          <p:cNvPr id="12" name="Rectangle 11">
            <a:extLst>
              <a:ext uri="{FF2B5EF4-FFF2-40B4-BE49-F238E27FC236}">
                <a16:creationId xmlns:a16="http://schemas.microsoft.com/office/drawing/2014/main" id="{643C2384-161E-45AF-9D02-2866857FE972}"/>
              </a:ext>
            </a:extLst>
          </p:cNvPr>
          <p:cNvSpPr/>
          <p:nvPr/>
        </p:nvSpPr>
        <p:spPr>
          <a:xfrm>
            <a:off x="6357378" y="2196149"/>
            <a:ext cx="5445932" cy="3939540"/>
          </a:xfrm>
          <a:prstGeom prst="rect">
            <a:avLst/>
          </a:prstGeom>
        </p:spPr>
        <p:txBody>
          <a:bodyPr wrap="square" lIns="0" tIns="0" rIns="0" bIns="0">
            <a:spAutoFit/>
          </a:bodyPr>
          <a:lstStyle/>
          <a:p>
            <a:pPr marL="342900" lvl="0" indent="-342900">
              <a:spcBef>
                <a:spcPts val="600"/>
              </a:spcBef>
              <a:spcAft>
                <a:spcPts val="600"/>
              </a:spcAft>
              <a:buFont typeface="Symbol" panose="05050102010706020507" pitchFamily="18" charset="2"/>
              <a:buChar char=""/>
            </a:pPr>
            <a:r>
              <a:rPr lang="en-US" dirty="0">
                <a:cs typeface="Henderson BCG Serif" panose="02030502050406020204" pitchFamily="18" charset="0"/>
              </a:rPr>
              <a:t>It is also important to build confidence by testing it on unseen future data to push for adoption with the business team</a:t>
            </a:r>
          </a:p>
          <a:p>
            <a:pPr marL="342900" lvl="0" indent="-342900">
              <a:spcBef>
                <a:spcPts val="600"/>
              </a:spcBef>
              <a:spcAft>
                <a:spcPts val="600"/>
              </a:spcAft>
              <a:buFont typeface="Symbol" panose="05050102010706020507" pitchFamily="18" charset="2"/>
              <a:buChar char=""/>
            </a:pPr>
            <a:endParaRPr lang="en-US" dirty="0">
              <a:cs typeface="Henderson BCG Serif" panose="02030502050406020204" pitchFamily="18" charset="0"/>
            </a:endParaRPr>
          </a:p>
          <a:p>
            <a:pPr marL="342900" lvl="0" indent="-342900">
              <a:spcBef>
                <a:spcPts val="600"/>
              </a:spcBef>
              <a:spcAft>
                <a:spcPts val="600"/>
              </a:spcAft>
              <a:buFont typeface="Symbol" panose="05050102010706020507" pitchFamily="18" charset="2"/>
              <a:buChar char=""/>
            </a:pPr>
            <a:r>
              <a:rPr lang="en-US" dirty="0">
                <a:ea typeface="Times New Roman" panose="02020603050405020304" pitchFamily="18" charset="0"/>
                <a:cs typeface="Henderson BCG Serif" panose="02030502050406020204" pitchFamily="18" charset="0"/>
              </a:rPr>
              <a:t>There is a trade off between model accuracy and actionability. Need to find the right balance to give enough lead time for action</a:t>
            </a:r>
          </a:p>
          <a:p>
            <a:pPr marL="342900" lvl="0" indent="-342900">
              <a:spcBef>
                <a:spcPts val="600"/>
              </a:spcBef>
              <a:spcAft>
                <a:spcPts val="600"/>
              </a:spcAft>
              <a:buFont typeface="Symbol" panose="05050102010706020507" pitchFamily="18" charset="2"/>
              <a:buChar char=""/>
            </a:pPr>
            <a:endParaRPr lang="en-US" dirty="0">
              <a:ea typeface="Times New Roman" panose="02020603050405020304" pitchFamily="18" charset="0"/>
              <a:cs typeface="Henderson BCG Serif" panose="02030502050406020204" pitchFamily="18" charset="0"/>
            </a:endParaRPr>
          </a:p>
          <a:p>
            <a:pPr marL="342900" lvl="0" indent="-342900">
              <a:spcBef>
                <a:spcPts val="600"/>
              </a:spcBef>
              <a:spcAft>
                <a:spcPts val="600"/>
              </a:spcAft>
              <a:buFont typeface="Symbol" panose="05050102010706020507" pitchFamily="18" charset="2"/>
              <a:buChar char=""/>
            </a:pPr>
            <a:r>
              <a:rPr lang="en-US" dirty="0">
                <a:ea typeface="Times New Roman" panose="02020603050405020304" pitchFamily="18" charset="0"/>
                <a:cs typeface="Henderson BCG Serif" panose="02030502050406020204" pitchFamily="18" charset="0"/>
              </a:rPr>
              <a:t>Having structured folders, modular and well commented codes will help in working efficiently and ensure a smooth handover for implementation</a:t>
            </a:r>
          </a:p>
        </p:txBody>
      </p:sp>
    </p:spTree>
    <p:extLst>
      <p:ext uri="{BB962C8B-B14F-4D97-AF65-F5344CB8AC3E}">
        <p14:creationId xmlns:p14="http://schemas.microsoft.com/office/powerpoint/2010/main" val="540599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DCFA33-B4CF-4606-9A14-BBC23D88A764}"/>
              </a:ext>
            </a:extLst>
          </p:cNvPr>
          <p:cNvGraphicFramePr>
            <a:graphicFrameLocks noChangeAspect="1"/>
          </p:cNvGraphicFramePr>
          <p:nvPr>
            <p:custDataLst>
              <p:tags r:id="rId1"/>
            </p:custDataLst>
            <p:extLst>
              <p:ext uri="{D42A27DB-BD31-4B8C-83A1-F6EECF244321}">
                <p14:modId xmlns:p14="http://schemas.microsoft.com/office/powerpoint/2010/main" val="2356556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2BDCFA33-B4CF-4606-9A14-BBC23D88A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5384E1D-FD82-4366-A72F-8C257348AD99}"/>
              </a:ext>
            </a:extLst>
          </p:cNvPr>
          <p:cNvSpPr>
            <a:spLocks noGrp="1"/>
          </p:cNvSpPr>
          <p:nvPr>
            <p:ph type="ctrTitle"/>
          </p:nvPr>
        </p:nvSpPr>
        <p:spPr/>
        <p:txBody>
          <a:bodyPr vert="horz"/>
          <a:lstStyle/>
          <a:p>
            <a:r>
              <a:rPr lang="en-US" dirty="0"/>
              <a:t>Group Activity using Miro</a:t>
            </a:r>
          </a:p>
        </p:txBody>
      </p:sp>
      <p:sp>
        <p:nvSpPr>
          <p:cNvPr id="6" name="TextBox 5">
            <a:extLst>
              <a:ext uri="{FF2B5EF4-FFF2-40B4-BE49-F238E27FC236}">
                <a16:creationId xmlns:a16="http://schemas.microsoft.com/office/drawing/2014/main" id="{17729389-9EAA-4726-98C1-582B46454D78}"/>
              </a:ext>
            </a:extLst>
          </p:cNvPr>
          <p:cNvSpPr txBox="1"/>
          <p:nvPr/>
        </p:nvSpPr>
        <p:spPr>
          <a:xfrm>
            <a:off x="0" y="252156"/>
            <a:ext cx="1133475" cy="386019"/>
          </a:xfrm>
          <a:prstGeom prst="rect">
            <a:avLst/>
          </a:prstGeom>
          <a:solidFill>
            <a:srgbClr val="20B66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15 mins</a:t>
            </a:r>
          </a:p>
        </p:txBody>
      </p:sp>
    </p:spTree>
    <p:extLst>
      <p:ext uri="{BB962C8B-B14F-4D97-AF65-F5344CB8AC3E}">
        <p14:creationId xmlns:p14="http://schemas.microsoft.com/office/powerpoint/2010/main" val="3680219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60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516C8D-B6D7-4CD7-97EF-DCD3A23C9B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53" imgH="363" progId="TCLayout.ActiveDocument.1">
                  <p:embed/>
                </p:oleObj>
              </mc:Choice>
              <mc:Fallback>
                <p:oleObj name="think-cell Slide" r:id="rId11" imgW="353" imgH="363" progId="TCLayout.ActiveDocument.1">
                  <p:embed/>
                  <p:pic>
                    <p:nvPicPr>
                      <p:cNvPr id="4" name="Object 3" hidden="1">
                        <a:extLst>
                          <a:ext uri="{FF2B5EF4-FFF2-40B4-BE49-F238E27FC236}">
                            <a16:creationId xmlns:a16="http://schemas.microsoft.com/office/drawing/2014/main" id="{F2516C8D-B6D7-4CD7-97EF-DCD3A23C9BB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D9654F6-0B26-49F8-BCC4-46520574DB98}"/>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a:extLst>
              <a:ext uri="{FF2B5EF4-FFF2-40B4-BE49-F238E27FC236}">
                <a16:creationId xmlns:a16="http://schemas.microsoft.com/office/drawing/2014/main" id="{0402C660-43E3-4EDA-839D-4439327E3BCF}"/>
              </a:ext>
            </a:extLst>
          </p:cNvPr>
          <p:cNvSpPr>
            <a:spLocks noGrp="1"/>
          </p:cNvSpPr>
          <p:nvPr>
            <p:ph type="title"/>
          </p:nvPr>
        </p:nvSpPr>
        <p:spPr/>
        <p:txBody>
          <a:bodyPr/>
          <a:lstStyle/>
          <a:p>
            <a:r>
              <a:rPr lang="en-US" sz="2800" dirty="0"/>
              <a:t>Where are we in the learning journey?</a:t>
            </a:r>
            <a:endParaRPr lang="en-US" sz="2800" dirty="0">
              <a:solidFill>
                <a:srgbClr val="171D3C"/>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sp>
        <p:nvSpPr>
          <p:cNvPr id="32" name="ee4pHeader1">
            <a:extLst>
              <a:ext uri="{FF2B5EF4-FFF2-40B4-BE49-F238E27FC236}">
                <a16:creationId xmlns:a16="http://schemas.microsoft.com/office/drawing/2014/main" id="{95734F56-DE88-4EA8-A299-8EA2FA9A5FC9}"/>
              </a:ext>
            </a:extLst>
          </p:cNvPr>
          <p:cNvSpPr>
            <a:spLocks noChangeArrowheads="1"/>
          </p:cNvSpPr>
          <p:nvPr>
            <p:custDataLst>
              <p:tags r:id="rId3"/>
            </p:custDataLst>
          </p:nvPr>
        </p:nvSpPr>
        <p:spPr bwMode="gray">
          <a:xfrm>
            <a:off x="629677" y="3210823"/>
            <a:ext cx="1101031" cy="1643721"/>
          </a:xfrm>
          <a:prstGeom prst="homePlate">
            <a:avLst>
              <a:gd name="adj" fmla="val 12004"/>
            </a:avLst>
          </a:prstGeom>
          <a:solidFill>
            <a:srgbClr val="000000"/>
          </a:solidFill>
          <a:ln w="38100" cap="rnd" algn="ctr">
            <a:noFill/>
            <a:round/>
            <a:headEnd/>
            <a:tailEnd/>
          </a:ln>
        </p:spPr>
        <p:txBody>
          <a:bodyPr lIns="0" tIns="0" rIns="0" bIns="0" anchor="ctr" anchorCtr="0"/>
          <a:lstStyle/>
          <a:p>
            <a:pPr algn="ctr" eaLnBrk="0" hangingPunct="0"/>
            <a:r>
              <a:rPr lang="en-US" sz="1400" dirty="0">
                <a:solidFill>
                  <a:schemeClr val="bg1"/>
                </a:solidFill>
                <a:latin typeface="+mj-lt"/>
                <a:cs typeface="Henderson BCG Sans" panose="020B0502030402020204" pitchFamily="34" charset="0"/>
                <a:sym typeface="Henderson BCG Sans" panose="020B0502030402020204" pitchFamily="34" charset="0"/>
              </a:rPr>
              <a:t>Orientation</a:t>
            </a:r>
          </a:p>
          <a:p>
            <a:pPr algn="ctr" eaLnBrk="0" hangingPunct="0"/>
            <a:r>
              <a:rPr lang="en-US" sz="1400" dirty="0">
                <a:solidFill>
                  <a:schemeClr val="bg1"/>
                </a:solidFill>
                <a:latin typeface="+mj-lt"/>
                <a:cs typeface="Henderson BCG Sans" panose="020B0502030402020204" pitchFamily="34" charset="0"/>
                <a:sym typeface="Henderson BCG Sans" panose="020B0502030402020204" pitchFamily="34" charset="0"/>
              </a:rPr>
              <a:t>(1 week)</a:t>
            </a:r>
          </a:p>
        </p:txBody>
      </p:sp>
      <p:sp>
        <p:nvSpPr>
          <p:cNvPr id="33" name="ee4pHeader2">
            <a:extLst>
              <a:ext uri="{FF2B5EF4-FFF2-40B4-BE49-F238E27FC236}">
                <a16:creationId xmlns:a16="http://schemas.microsoft.com/office/drawing/2014/main" id="{10978EC2-B25D-413B-9583-1F05047CB996}"/>
              </a:ext>
            </a:extLst>
          </p:cNvPr>
          <p:cNvSpPr>
            <a:spLocks noChangeArrowheads="1"/>
          </p:cNvSpPr>
          <p:nvPr>
            <p:custDataLst>
              <p:tags r:id="rId4"/>
            </p:custDataLst>
          </p:nvPr>
        </p:nvSpPr>
        <p:spPr bwMode="gray">
          <a:xfrm>
            <a:off x="1711417" y="3210823"/>
            <a:ext cx="1345741" cy="1643721"/>
          </a:xfrm>
          <a:prstGeom prst="chevron">
            <a:avLst>
              <a:gd name="adj" fmla="val 12004"/>
            </a:avLst>
          </a:prstGeom>
          <a:solidFill>
            <a:srgbClr val="31DB89"/>
          </a:solidFill>
          <a:ln w="38100" cap="rnd" algn="ctr">
            <a:noFill/>
            <a:round/>
            <a:headEnd/>
            <a:tailEnd/>
          </a:ln>
        </p:spPr>
        <p:txBody>
          <a:bodyPr lIns="0" tIns="0" rIns="0" bIns="0" anchor="ctr" anchorCtr="0"/>
          <a:lstStyle/>
          <a:p>
            <a:pPr algn="ctr" eaLnBrk="0" hangingPunct="0"/>
            <a:r>
              <a:rPr lang="en-US" sz="1400" dirty="0">
                <a:solidFill>
                  <a:srgbClr val="171D3C"/>
                </a:solidFill>
                <a:latin typeface="+mj-lt"/>
                <a:cs typeface="Henderson BCG Sans" panose="020B0502030402020204" pitchFamily="34" charset="0"/>
                <a:sym typeface="Henderson BCG Sans" panose="020B0502030402020204" pitchFamily="34" charset="0"/>
              </a:rPr>
              <a:t>IU 1.0</a:t>
            </a:r>
          </a:p>
          <a:p>
            <a:pPr algn="ctr" eaLnBrk="0" hangingPunct="0"/>
            <a:r>
              <a:rPr lang="en-US" sz="1400" dirty="0">
                <a:solidFill>
                  <a:schemeClr val="bg1"/>
                </a:solidFill>
                <a:latin typeface="+mj-lt"/>
                <a:cs typeface="Henderson BCG Sans" panose="020B0502030402020204" pitchFamily="34" charset="0"/>
                <a:sym typeface="Henderson BCG Sans" panose="020B0502030402020204" pitchFamily="34" charset="0"/>
              </a:rPr>
              <a:t>Business essentials</a:t>
            </a:r>
          </a:p>
          <a:p>
            <a:pPr algn="ctr" eaLnBrk="0" hangingPunct="0"/>
            <a:r>
              <a:rPr lang="en-US" sz="1400" dirty="0">
                <a:solidFill>
                  <a:schemeClr val="bg1"/>
                </a:solidFill>
                <a:latin typeface="+mj-lt"/>
                <a:cs typeface="Henderson BCG Sans" panose="020B0502030402020204" pitchFamily="34" charset="0"/>
                <a:sym typeface="Henderson BCG Sans" panose="020B0502030402020204" pitchFamily="34" charset="0"/>
              </a:rPr>
              <a:t>(3 weeks)</a:t>
            </a:r>
          </a:p>
        </p:txBody>
      </p:sp>
      <p:sp>
        <p:nvSpPr>
          <p:cNvPr id="34" name="ee4pHeader3">
            <a:extLst>
              <a:ext uri="{FF2B5EF4-FFF2-40B4-BE49-F238E27FC236}">
                <a16:creationId xmlns:a16="http://schemas.microsoft.com/office/drawing/2014/main" id="{1AEC8F56-984E-4B11-A258-B1F02B3D9A6B}"/>
              </a:ext>
            </a:extLst>
          </p:cNvPr>
          <p:cNvSpPr>
            <a:spLocks noChangeArrowheads="1"/>
          </p:cNvSpPr>
          <p:nvPr>
            <p:custDataLst>
              <p:tags r:id="rId5"/>
            </p:custDataLst>
          </p:nvPr>
        </p:nvSpPr>
        <p:spPr bwMode="gray">
          <a:xfrm>
            <a:off x="5690768" y="3210823"/>
            <a:ext cx="4546132" cy="1643721"/>
          </a:xfrm>
          <a:prstGeom prst="chevron">
            <a:avLst>
              <a:gd name="adj" fmla="val 12004"/>
            </a:avLst>
          </a:prstGeom>
          <a:solidFill>
            <a:srgbClr val="31DB89">
              <a:alpha val="84000"/>
            </a:srgbClr>
          </a:solidFill>
          <a:ln w="38100" cap="rnd" algn="ctr">
            <a:noFill/>
            <a:round/>
            <a:headEnd/>
            <a:tailEnd/>
          </a:ln>
        </p:spPr>
        <p:txBody>
          <a:bodyPr lIns="0" tIns="0" rIns="0" bIns="0" anchor="ctr" anchorCtr="0"/>
          <a:lstStyle/>
          <a:p>
            <a:pPr algn="ctr" eaLnBrk="0" hangingPunct="0"/>
            <a:r>
              <a:rPr lang="en-US" sz="1400" dirty="0">
                <a:solidFill>
                  <a:srgbClr val="171D3C"/>
                </a:solidFill>
                <a:latin typeface="+mj-lt"/>
                <a:cs typeface="Henderson BCG Sans" panose="020B0502030402020204" pitchFamily="34" charset="0"/>
                <a:sym typeface="Henderson BCG Sans" panose="020B0502030402020204" pitchFamily="34" charset="0"/>
              </a:rPr>
              <a:t>IU 4.0</a:t>
            </a:r>
          </a:p>
          <a:p>
            <a:pPr algn="ctr" eaLnBrk="0" hangingPunct="0"/>
            <a:r>
              <a:rPr lang="en-US" sz="1400" dirty="0">
                <a:solidFill>
                  <a:srgbClr val="FFFFFF"/>
                </a:solidFill>
                <a:latin typeface="+mj-lt"/>
                <a:cs typeface="Henderson BCG Sans" panose="020B0502030402020204" pitchFamily="34" charset="0"/>
                <a:sym typeface="Henderson BCG Sans" panose="020B0502030402020204" pitchFamily="34" charset="0"/>
              </a:rPr>
              <a:t>Digital Core</a:t>
            </a:r>
          </a:p>
          <a:p>
            <a:pPr algn="ctr" eaLnBrk="0" hangingPunct="0"/>
            <a:r>
              <a:rPr lang="en-US" sz="1400" dirty="0">
                <a:solidFill>
                  <a:srgbClr val="FFFFFF"/>
                </a:solidFill>
                <a:latin typeface="+mj-lt"/>
                <a:cs typeface="Henderson BCG Sans" panose="020B0502030402020204" pitchFamily="34" charset="0"/>
                <a:sym typeface="Henderson BCG Sans" panose="020B0502030402020204" pitchFamily="34" charset="0"/>
              </a:rPr>
              <a:t>(10 weeks)</a:t>
            </a:r>
          </a:p>
        </p:txBody>
      </p:sp>
      <p:sp>
        <p:nvSpPr>
          <p:cNvPr id="35" name="ee4pHeader2">
            <a:extLst>
              <a:ext uri="{FF2B5EF4-FFF2-40B4-BE49-F238E27FC236}">
                <a16:creationId xmlns:a16="http://schemas.microsoft.com/office/drawing/2014/main" id="{157024EC-C8C4-4645-9CFD-78DE4B472F08}"/>
              </a:ext>
            </a:extLst>
          </p:cNvPr>
          <p:cNvSpPr>
            <a:spLocks noChangeArrowheads="1"/>
          </p:cNvSpPr>
          <p:nvPr>
            <p:custDataLst>
              <p:tags r:id="rId6"/>
            </p:custDataLst>
          </p:nvPr>
        </p:nvSpPr>
        <p:spPr bwMode="gray">
          <a:xfrm>
            <a:off x="3037867" y="3210823"/>
            <a:ext cx="1345741" cy="1643721"/>
          </a:xfrm>
          <a:prstGeom prst="chevron">
            <a:avLst>
              <a:gd name="adj" fmla="val 12004"/>
            </a:avLst>
          </a:prstGeom>
          <a:solidFill>
            <a:srgbClr val="31DB89">
              <a:alpha val="84000"/>
            </a:srgbClr>
          </a:solidFill>
          <a:ln w="38100" cap="rnd" algn="ctr">
            <a:noFill/>
            <a:round/>
            <a:headEnd/>
            <a:tailEnd/>
          </a:ln>
        </p:spPr>
        <p:txBody>
          <a:bodyPr lIns="0" tIns="0" rIns="0" bIns="0" anchor="ctr" anchorCtr="0"/>
          <a:lstStyle/>
          <a:p>
            <a:pPr algn="ctr" eaLnBrk="0" hangingPunct="0"/>
            <a:r>
              <a:rPr lang="en-US" sz="1400" dirty="0">
                <a:solidFill>
                  <a:srgbClr val="171D3C"/>
                </a:solidFill>
                <a:latin typeface="+mj-lt"/>
                <a:cs typeface="Henderson BCG Sans" panose="020B0502030402020204" pitchFamily="34" charset="0"/>
                <a:sym typeface="Henderson BCG Sans" panose="020B0502030402020204" pitchFamily="34" charset="0"/>
              </a:rPr>
              <a:t>IU 2.0</a:t>
            </a:r>
          </a:p>
          <a:p>
            <a:pPr algn="ctr" eaLnBrk="0" hangingPunct="0"/>
            <a:r>
              <a:rPr lang="en-US" sz="1400" dirty="0">
                <a:solidFill>
                  <a:srgbClr val="FFFFFF"/>
                </a:solidFill>
                <a:latin typeface="+mj-lt"/>
                <a:cs typeface="Henderson BCG Sans" panose="020B0502030402020204" pitchFamily="34" charset="0"/>
                <a:sym typeface="Henderson BCG Sans" panose="020B0502030402020204" pitchFamily="34" charset="0"/>
              </a:rPr>
              <a:t>Digital essentials</a:t>
            </a:r>
          </a:p>
          <a:p>
            <a:pPr algn="ctr" eaLnBrk="0" hangingPunct="0"/>
            <a:r>
              <a:rPr lang="en-US" sz="1400" dirty="0">
                <a:solidFill>
                  <a:srgbClr val="FFFFFF"/>
                </a:solidFill>
                <a:latin typeface="+mj-lt"/>
                <a:cs typeface="Henderson BCG Sans" panose="020B0502030402020204" pitchFamily="34" charset="0"/>
                <a:sym typeface="Henderson BCG Sans" panose="020B0502030402020204" pitchFamily="34" charset="0"/>
              </a:rPr>
              <a:t>(3 weeks)</a:t>
            </a:r>
          </a:p>
        </p:txBody>
      </p:sp>
      <p:sp>
        <p:nvSpPr>
          <p:cNvPr id="36" name="ee4pHeader2">
            <a:extLst>
              <a:ext uri="{FF2B5EF4-FFF2-40B4-BE49-F238E27FC236}">
                <a16:creationId xmlns:a16="http://schemas.microsoft.com/office/drawing/2014/main" id="{04A2CFB0-997C-470B-9F99-62ADDE7BA119}"/>
              </a:ext>
            </a:extLst>
          </p:cNvPr>
          <p:cNvSpPr>
            <a:spLocks noChangeArrowheads="1"/>
          </p:cNvSpPr>
          <p:nvPr>
            <p:custDataLst>
              <p:tags r:id="rId7"/>
            </p:custDataLst>
          </p:nvPr>
        </p:nvSpPr>
        <p:spPr bwMode="gray">
          <a:xfrm>
            <a:off x="4364318" y="3210823"/>
            <a:ext cx="1345741" cy="1643721"/>
          </a:xfrm>
          <a:prstGeom prst="chevron">
            <a:avLst>
              <a:gd name="adj" fmla="val 12004"/>
            </a:avLst>
          </a:prstGeom>
          <a:solidFill>
            <a:srgbClr val="171D3C">
              <a:alpha val="84000"/>
            </a:srgbClr>
          </a:solidFill>
          <a:ln w="38100" cap="rnd" algn="ctr">
            <a:noFill/>
            <a:round/>
            <a:headEnd/>
            <a:tailEnd/>
          </a:ln>
        </p:spPr>
        <p:txBody>
          <a:bodyPr lIns="0" tIns="0" rIns="0" bIns="0" anchor="ctr" anchorCtr="0"/>
          <a:lstStyle/>
          <a:p>
            <a:pPr algn="ctr" eaLnBrk="0" hangingPunct="0"/>
            <a:r>
              <a:rPr lang="en-US" sz="1400" dirty="0">
                <a:solidFill>
                  <a:schemeClr val="bg1"/>
                </a:solidFill>
                <a:latin typeface="+mj-lt"/>
                <a:cs typeface="Henderson BCG Sans" panose="020B0502030402020204" pitchFamily="34" charset="0"/>
                <a:sym typeface="Henderson BCG Sans" panose="020B0502030402020204" pitchFamily="34" charset="0"/>
              </a:rPr>
              <a:t>Hackathon</a:t>
            </a:r>
          </a:p>
          <a:p>
            <a:pPr algn="ctr" eaLnBrk="0" hangingPunct="0"/>
            <a:r>
              <a:rPr lang="en-US" sz="1400" dirty="0">
                <a:solidFill>
                  <a:schemeClr val="bg1"/>
                </a:solidFill>
                <a:latin typeface="+mj-lt"/>
                <a:cs typeface="Henderson BCG Sans" panose="020B0502030402020204" pitchFamily="34" charset="0"/>
                <a:sym typeface="Henderson BCG Sans" panose="020B0502030402020204" pitchFamily="34" charset="0"/>
              </a:rPr>
              <a:t>(3 weeks)</a:t>
            </a:r>
          </a:p>
        </p:txBody>
      </p:sp>
      <p:sp>
        <p:nvSpPr>
          <p:cNvPr id="37" name="ee4pHeader2">
            <a:extLst>
              <a:ext uri="{FF2B5EF4-FFF2-40B4-BE49-F238E27FC236}">
                <a16:creationId xmlns:a16="http://schemas.microsoft.com/office/drawing/2014/main" id="{8A3C299B-99A6-4BD4-A0B1-BBC0B8835A09}"/>
              </a:ext>
            </a:extLst>
          </p:cNvPr>
          <p:cNvSpPr>
            <a:spLocks noChangeArrowheads="1"/>
          </p:cNvSpPr>
          <p:nvPr>
            <p:custDataLst>
              <p:tags r:id="rId8"/>
            </p:custDataLst>
          </p:nvPr>
        </p:nvSpPr>
        <p:spPr bwMode="gray">
          <a:xfrm>
            <a:off x="10217609" y="3210823"/>
            <a:ext cx="1345741" cy="1643721"/>
          </a:xfrm>
          <a:prstGeom prst="chevron">
            <a:avLst>
              <a:gd name="adj" fmla="val 12004"/>
            </a:avLst>
          </a:prstGeom>
          <a:solidFill>
            <a:srgbClr val="171D3C">
              <a:alpha val="84000"/>
            </a:srgbClr>
          </a:solidFill>
          <a:ln w="38100" cap="rnd" algn="ctr">
            <a:noFill/>
            <a:round/>
            <a:headEnd/>
            <a:tailEnd/>
          </a:ln>
        </p:spPr>
        <p:txBody>
          <a:bodyPr lIns="0" tIns="0" rIns="0" bIns="0" anchor="ctr" anchorCtr="0"/>
          <a:lstStyle/>
          <a:p>
            <a:pPr algn="ctr" eaLnBrk="0" hangingPunct="0"/>
            <a:r>
              <a:rPr lang="en-US" sz="1400" dirty="0">
                <a:solidFill>
                  <a:schemeClr val="bg1"/>
                </a:solidFill>
                <a:latin typeface="+mj-lt"/>
                <a:cs typeface="Henderson BCG Sans" panose="020B0502030402020204" pitchFamily="34" charset="0"/>
                <a:sym typeface="Henderson BCG Sans" panose="020B0502030402020204" pitchFamily="34" charset="0"/>
              </a:rPr>
              <a:t>Capstone</a:t>
            </a:r>
          </a:p>
          <a:p>
            <a:pPr algn="ctr" eaLnBrk="0" hangingPunct="0"/>
            <a:r>
              <a:rPr lang="en-US" sz="1400" dirty="0">
                <a:solidFill>
                  <a:schemeClr val="bg1"/>
                </a:solidFill>
                <a:latin typeface="+mj-lt"/>
                <a:cs typeface="Henderson BCG Sans" panose="020B0502030402020204" pitchFamily="34" charset="0"/>
                <a:sym typeface="Henderson BCG Sans" panose="020B0502030402020204" pitchFamily="34" charset="0"/>
              </a:rPr>
              <a:t>(3 weeks)</a:t>
            </a:r>
          </a:p>
        </p:txBody>
      </p:sp>
      <p:cxnSp>
        <p:nvCxnSpPr>
          <p:cNvPr id="16" name="Straight Connector 15">
            <a:extLst>
              <a:ext uri="{FF2B5EF4-FFF2-40B4-BE49-F238E27FC236}">
                <a16:creationId xmlns:a16="http://schemas.microsoft.com/office/drawing/2014/main" id="{144E1F75-7EBD-4019-9A75-7676D444E0A0}"/>
              </a:ext>
            </a:extLst>
          </p:cNvPr>
          <p:cNvCxnSpPr/>
          <p:nvPr/>
        </p:nvCxnSpPr>
        <p:spPr>
          <a:xfrm>
            <a:off x="7364825" y="4943639"/>
            <a:ext cx="1128907"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A8155DFA-A5FE-47BA-8F50-273F867B0025}"/>
              </a:ext>
            </a:extLst>
          </p:cNvPr>
          <p:cNvCxnSpPr>
            <a:cxnSpLocks/>
          </p:cNvCxnSpPr>
          <p:nvPr/>
        </p:nvCxnSpPr>
        <p:spPr>
          <a:xfrm rot="16200000" flipH="1">
            <a:off x="8075406" y="4802342"/>
            <a:ext cx="469743" cy="761996"/>
          </a:xfrm>
          <a:prstGeom prst="bentConnector2">
            <a:avLst/>
          </a:prstGeom>
          <a:ln w="9525" cap="rnd">
            <a:solidFill>
              <a:schemeClr val="tx1">
                <a:lumMod val="60000"/>
                <a:lumOff val="40000"/>
              </a:schemeClr>
            </a:solidFill>
            <a:prstDash val="sysDot"/>
            <a:round/>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46DD4F5E-E260-4BE1-B0B4-252B36ED96DD}"/>
              </a:ext>
            </a:extLst>
          </p:cNvPr>
          <p:cNvSpPr/>
          <p:nvPr/>
        </p:nvSpPr>
        <p:spPr>
          <a:xfrm>
            <a:off x="2186743" y="4993055"/>
            <a:ext cx="178255" cy="96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cs typeface="Henderson BCG Sans" panose="020B0502030402020204" pitchFamily="34" charset="0"/>
              <a:sym typeface="Henderson BCG Sans" panose="020B0502030402020204" pitchFamily="34" charset="0"/>
            </a:endParaRPr>
          </a:p>
        </p:txBody>
      </p:sp>
      <p:sp>
        <p:nvSpPr>
          <p:cNvPr id="21" name="Rectangle 20">
            <a:extLst>
              <a:ext uri="{FF2B5EF4-FFF2-40B4-BE49-F238E27FC236}">
                <a16:creationId xmlns:a16="http://schemas.microsoft.com/office/drawing/2014/main" id="{7DE6DCD4-036F-4F40-911B-3ECFBC084DCF}"/>
              </a:ext>
            </a:extLst>
          </p:cNvPr>
          <p:cNvSpPr/>
          <p:nvPr/>
        </p:nvSpPr>
        <p:spPr>
          <a:xfrm flipH="1">
            <a:off x="0" y="405219"/>
            <a:ext cx="182880" cy="822960"/>
          </a:xfrm>
          <a:prstGeom prst="rect">
            <a:avLst/>
          </a:prstGeom>
          <a:solidFill>
            <a:srgbClr val="31DB8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nderson BCG Sans" panose="020B0502030402020204" pitchFamily="34" charset="0"/>
              <a:cs typeface="Henderson BCG Sans" panose="020B0502030402020204" pitchFamily="34" charset="0"/>
              <a:sym typeface="Henderson BCG Sans" panose="020B0502030402020204" pitchFamily="34" charset="0"/>
            </a:endParaRPr>
          </a:p>
        </p:txBody>
      </p:sp>
      <p:sp>
        <p:nvSpPr>
          <p:cNvPr id="22" name="Arrow: Pentagon 21">
            <a:extLst>
              <a:ext uri="{FF2B5EF4-FFF2-40B4-BE49-F238E27FC236}">
                <a16:creationId xmlns:a16="http://schemas.microsoft.com/office/drawing/2014/main" id="{C3B27506-749F-4976-8D2A-55CE5F277C2A}"/>
              </a:ext>
            </a:extLst>
          </p:cNvPr>
          <p:cNvSpPr/>
          <p:nvPr/>
        </p:nvSpPr>
        <p:spPr>
          <a:xfrm>
            <a:off x="629677" y="2093265"/>
            <a:ext cx="10818658" cy="307910"/>
          </a:xfrm>
          <a:prstGeom prst="homePlate">
            <a:avLst>
              <a:gd name="adj" fmla="val 78872"/>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Career Development</a:t>
            </a:r>
          </a:p>
        </p:txBody>
      </p:sp>
      <p:sp>
        <p:nvSpPr>
          <p:cNvPr id="23" name="Arrow: Pentagon 22">
            <a:extLst>
              <a:ext uri="{FF2B5EF4-FFF2-40B4-BE49-F238E27FC236}">
                <a16:creationId xmlns:a16="http://schemas.microsoft.com/office/drawing/2014/main" id="{6962C1A8-C59A-4A7D-A408-CAA4D45E9E88}"/>
              </a:ext>
            </a:extLst>
          </p:cNvPr>
          <p:cNvSpPr/>
          <p:nvPr/>
        </p:nvSpPr>
        <p:spPr>
          <a:xfrm>
            <a:off x="629677" y="2512312"/>
            <a:ext cx="10818658" cy="307910"/>
          </a:xfrm>
          <a:prstGeom prst="homePlate">
            <a:avLst>
              <a:gd name="adj" fmla="val 74747"/>
            </a:avLst>
          </a:prstGeom>
          <a:solidFill>
            <a:srgbClr val="3EAD9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Leadership Development</a:t>
            </a:r>
          </a:p>
        </p:txBody>
      </p:sp>
      <p:sp>
        <p:nvSpPr>
          <p:cNvPr id="18" name="Rectangle 4">
            <a:extLst>
              <a:ext uri="{FF2B5EF4-FFF2-40B4-BE49-F238E27FC236}">
                <a16:creationId xmlns:a16="http://schemas.microsoft.com/office/drawing/2014/main" id="{13BF1B18-3AD2-43E2-A896-81DEFB2BD6C0}"/>
              </a:ext>
            </a:extLst>
          </p:cNvPr>
          <p:cNvSpPr>
            <a:spLocks noChangeArrowheads="1"/>
          </p:cNvSpPr>
          <p:nvPr/>
        </p:nvSpPr>
        <p:spPr bwMode="gray">
          <a:xfrm>
            <a:off x="8691275" y="5002714"/>
            <a:ext cx="2714663" cy="1200329"/>
          </a:xfrm>
          <a:prstGeom prst="rect">
            <a:avLst/>
          </a:prstGeom>
          <a:noFill/>
          <a:ln w="9525" cap="flat" cmpd="sng" algn="ctr">
            <a:solidFill>
              <a:srgbClr val="7F7F7F"/>
            </a:solidFill>
            <a:prstDash val="solid"/>
            <a:miter lim="800000"/>
            <a:headEnd type="none" w="med" len="med"/>
            <a:tailEnd type="none" w="med" len="med"/>
          </a:ln>
        </p:spPr>
        <p:txBody>
          <a:bodyPr wrap="square" lIns="91440" tIns="45720" rIns="45720" bIns="45720">
            <a:spAutoFit/>
          </a:bodyPr>
          <a:lstStyle/>
          <a:p>
            <a:pPr>
              <a:buClr>
                <a:schemeClr val="tx2"/>
              </a:buClr>
            </a:pPr>
            <a:r>
              <a:rPr lang="en-US" altLang="ko-KR" sz="1200" dirty="0">
                <a:solidFill>
                  <a:srgbClr val="37373A"/>
                </a:solidFill>
                <a:latin typeface="+mj-lt"/>
                <a:ea typeface="Gulim" pitchFamily="34" charset="-127"/>
                <a:cs typeface="Henderson BCG Sans" panose="020B0502030402020204" pitchFamily="34" charset="0"/>
                <a:sym typeface="Henderson BCG Sans" panose="020B0502030402020204" pitchFamily="34" charset="0"/>
              </a:rPr>
              <a:t>IU 4.1 – Ramp up</a:t>
            </a:r>
          </a:p>
          <a:p>
            <a:pPr>
              <a:buClr>
                <a:schemeClr val="tx2"/>
              </a:buClr>
            </a:pPr>
            <a:r>
              <a:rPr lang="en-SG" altLang="ko-KR" sz="1200" dirty="0">
                <a:solidFill>
                  <a:schemeClr val="accent1"/>
                </a:solidFill>
                <a:latin typeface="+mj-lt"/>
                <a:ea typeface="Gulim" pitchFamily="34" charset="-127"/>
                <a:cs typeface="Henderson BCG Sans" panose="020B0502030402020204" pitchFamily="34" charset="0"/>
                <a:sym typeface="Henderson BCG Sans" panose="020B0502030402020204" pitchFamily="34" charset="0"/>
              </a:rPr>
              <a:t>IU 4.2 – Business analysis for data</a:t>
            </a:r>
          </a:p>
          <a:p>
            <a:pPr>
              <a:buClr>
                <a:schemeClr val="tx2"/>
              </a:buClr>
            </a:pPr>
            <a:r>
              <a:rPr lang="en-SG" altLang="ko-KR" sz="1200" dirty="0">
                <a:solidFill>
                  <a:schemeClr val="accent1"/>
                </a:solidFill>
                <a:latin typeface="+mj-lt"/>
                <a:ea typeface="Gulim" pitchFamily="34" charset="-127"/>
                <a:cs typeface="Henderson BCG Sans" panose="020B0502030402020204" pitchFamily="34" charset="0"/>
                <a:sym typeface="Henderson BCG Sans" panose="020B0502030402020204" pitchFamily="34" charset="0"/>
              </a:rPr>
              <a:t>IU 4.3 – Databases and querying</a:t>
            </a:r>
          </a:p>
          <a:p>
            <a:pPr>
              <a:buClr>
                <a:schemeClr val="tx2"/>
              </a:buClr>
            </a:pPr>
            <a:r>
              <a:rPr lang="en-SG" altLang="ko-KR" sz="1200" dirty="0">
                <a:solidFill>
                  <a:schemeClr val="accent1"/>
                </a:solidFill>
                <a:ea typeface="Gulim" pitchFamily="34" charset="-127"/>
                <a:cs typeface="Henderson BCG Sans" panose="020B0502030402020204" pitchFamily="34" charset="0"/>
                <a:sym typeface="Henderson BCG Sans" panose="020B0502030402020204" pitchFamily="34" charset="0"/>
              </a:rPr>
              <a:t>IU 4.4 – Visualization and dashboards</a:t>
            </a:r>
          </a:p>
          <a:p>
            <a:pPr>
              <a:buClr>
                <a:schemeClr val="tx2"/>
              </a:buClr>
            </a:pPr>
            <a:r>
              <a:rPr lang="en-SG" altLang="ko-KR" sz="1200" dirty="0">
                <a:solidFill>
                  <a:schemeClr val="accent1"/>
                </a:solidFill>
                <a:ea typeface="Gulim" pitchFamily="34" charset="-127"/>
                <a:cs typeface="Henderson BCG Sans" panose="020B0502030402020204" pitchFamily="34" charset="0"/>
                <a:sym typeface="Henderson BCG Sans" panose="020B0502030402020204" pitchFamily="34" charset="0"/>
              </a:rPr>
              <a:t>IU 4.5 - Statistical Analysis</a:t>
            </a:r>
          </a:p>
          <a:p>
            <a:pPr>
              <a:buClr>
                <a:schemeClr val="tx2"/>
              </a:buClr>
            </a:pPr>
            <a:r>
              <a:rPr lang="en-SG" altLang="ko-KR" sz="1200" b="1" dirty="0">
                <a:solidFill>
                  <a:schemeClr val="folHlink"/>
                </a:solidFill>
                <a:latin typeface="+mj-lt"/>
                <a:ea typeface="Gulim" pitchFamily="34" charset="-127"/>
                <a:cs typeface="Henderson BCG Sans" panose="020B0502030402020204" pitchFamily="34" charset="0"/>
                <a:sym typeface="Henderson BCG Sans" panose="020B0502030402020204" pitchFamily="34" charset="0"/>
              </a:rPr>
              <a:t>IU 4.6 – Machine Learning</a:t>
            </a:r>
          </a:p>
        </p:txBody>
      </p:sp>
    </p:spTree>
    <p:extLst>
      <p:ext uri="{BB962C8B-B14F-4D97-AF65-F5344CB8AC3E}">
        <p14:creationId xmlns:p14="http://schemas.microsoft.com/office/powerpoint/2010/main" val="3587053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BEB31E-3063-4DDA-A1B3-CB80D1E521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1BEB31E-3063-4DDA-A1B3-CB80D1E521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BF39A9C-D0D7-41FA-9BB0-6AD2F465C647}"/>
              </a:ext>
            </a:extLst>
          </p:cNvPr>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a:extLst>
              <a:ext uri="{FF2B5EF4-FFF2-40B4-BE49-F238E27FC236}">
                <a16:creationId xmlns:a16="http://schemas.microsoft.com/office/drawing/2014/main" id="{0AFDD172-A39A-4AFD-8148-1A07DE20B721}"/>
              </a:ext>
            </a:extLst>
          </p:cNvPr>
          <p:cNvSpPr>
            <a:spLocks noGrp="1"/>
          </p:cNvSpPr>
          <p:nvPr>
            <p:ph type="title"/>
          </p:nvPr>
        </p:nvSpPr>
        <p:spPr/>
        <p:txBody>
          <a:bodyPr vert="horz"/>
          <a:lstStyle/>
          <a:p>
            <a:r>
              <a:rPr lang="en-US" dirty="0"/>
              <a:t>Learning objectives</a:t>
            </a:r>
          </a:p>
        </p:txBody>
      </p:sp>
      <p:sp>
        <p:nvSpPr>
          <p:cNvPr id="7" name="TextBox 6">
            <a:extLst>
              <a:ext uri="{FF2B5EF4-FFF2-40B4-BE49-F238E27FC236}">
                <a16:creationId xmlns:a16="http://schemas.microsoft.com/office/drawing/2014/main" id="{79B9390B-2FC8-49F9-9D76-D3CD9CC9EF75}"/>
              </a:ext>
            </a:extLst>
          </p:cNvPr>
          <p:cNvSpPr txBox="1"/>
          <p:nvPr/>
        </p:nvSpPr>
        <p:spPr>
          <a:xfrm>
            <a:off x="4347499" y="2609245"/>
            <a:ext cx="6606252" cy="20092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91600" lvl="1" indent="-194400">
              <a:buClr>
                <a:srgbClr val="171D3C"/>
              </a:buClr>
              <a:buSzPct val="100000"/>
              <a:buFont typeface="Trebuchet MS" panose="020B0603020202020204" pitchFamily="34" charset="0"/>
              <a:buChar char="•"/>
            </a:pPr>
            <a:r>
              <a:rPr lang="en-SG" sz="2000" dirty="0">
                <a:solidFill>
                  <a:srgbClr val="000000"/>
                </a:solidFill>
                <a:latin typeface="Trebuchet MS" panose="020B0603020202020204" pitchFamily="34" charset="0"/>
              </a:rPr>
              <a:t>Understand common challenges faced during a live data and analytics based project across multiple phases</a:t>
            </a:r>
          </a:p>
          <a:p>
            <a:pPr marL="291600" lvl="1" indent="-194400">
              <a:buClr>
                <a:srgbClr val="171D3C"/>
              </a:buClr>
              <a:buSzPct val="100000"/>
              <a:buFont typeface="Trebuchet MS" panose="020B0603020202020204" pitchFamily="34" charset="0"/>
              <a:buChar char="•"/>
            </a:pPr>
            <a:endParaRPr lang="en-SG" sz="2000" dirty="0">
              <a:solidFill>
                <a:srgbClr val="000000"/>
              </a:solidFill>
              <a:latin typeface="Trebuchet MS" panose="020B0603020202020204" pitchFamily="34" charset="0"/>
            </a:endParaRPr>
          </a:p>
          <a:p>
            <a:pPr marL="291600" lvl="1" indent="-194400">
              <a:buClr>
                <a:srgbClr val="171D3C"/>
              </a:buClr>
              <a:buSzPct val="100000"/>
              <a:buFont typeface="Trebuchet MS" panose="020B0603020202020204" pitchFamily="34" charset="0"/>
              <a:buChar char="•"/>
            </a:pPr>
            <a:r>
              <a:rPr lang="en-SG" sz="2000" dirty="0">
                <a:solidFill>
                  <a:srgbClr val="000000"/>
                </a:solidFill>
                <a:latin typeface="Trebuchet MS" panose="020B0603020202020204" pitchFamily="34" charset="0"/>
              </a:rPr>
              <a:t>Understand ways to overcome these challenges</a:t>
            </a:r>
          </a:p>
        </p:txBody>
      </p:sp>
      <p:sp>
        <p:nvSpPr>
          <p:cNvPr id="2" name="TextBox 1">
            <a:extLst>
              <a:ext uri="{FF2B5EF4-FFF2-40B4-BE49-F238E27FC236}">
                <a16:creationId xmlns:a16="http://schemas.microsoft.com/office/drawing/2014/main" id="{27B437EB-4D38-421B-A5D0-6CA6440B1A12}"/>
              </a:ext>
            </a:extLst>
          </p:cNvPr>
          <p:cNvSpPr txBox="1"/>
          <p:nvPr/>
        </p:nvSpPr>
        <p:spPr>
          <a:xfrm>
            <a:off x="4162425" y="923925"/>
            <a:ext cx="7038976" cy="800100"/>
          </a:xfrm>
          <a:prstGeom prst="rect">
            <a:avLst/>
          </a:prstGeom>
          <a:solidFill>
            <a:srgbClr val="20B66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Anything you do comes with its own challenge! </a:t>
            </a:r>
          </a:p>
          <a:p>
            <a:pPr algn="ctr"/>
            <a:r>
              <a:rPr lang="en-US" dirty="0">
                <a:solidFill>
                  <a:schemeClr val="bg1"/>
                </a:solidFill>
              </a:rPr>
              <a:t>Knowing them in advance help you in proactively mitigating them</a:t>
            </a:r>
          </a:p>
        </p:txBody>
      </p:sp>
    </p:spTree>
    <p:extLst>
      <p:ext uri="{BB962C8B-B14F-4D97-AF65-F5344CB8AC3E}">
        <p14:creationId xmlns:p14="http://schemas.microsoft.com/office/powerpoint/2010/main" val="1667198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35F839-F14C-4C7F-BD4E-97A641930F71}"/>
              </a:ext>
            </a:extLst>
          </p:cNvPr>
          <p:cNvGraphicFramePr>
            <a:graphicFrameLocks noChangeAspect="1"/>
          </p:cNvGraphicFramePr>
          <p:nvPr>
            <p:custDataLst>
              <p:tags r:id="rId1"/>
            </p:custDataLst>
            <p:extLst>
              <p:ext uri="{D42A27DB-BD31-4B8C-83A1-F6EECF244321}">
                <p14:modId xmlns:p14="http://schemas.microsoft.com/office/powerpoint/2010/main" val="2289512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F83E236-F964-4308-BB05-60D1585836E7}"/>
              </a:ext>
            </a:extLst>
          </p:cNvPr>
          <p:cNvSpPr>
            <a:spLocks noGrp="1"/>
          </p:cNvSpPr>
          <p:nvPr>
            <p:ph type="ctrTitle"/>
          </p:nvPr>
        </p:nvSpPr>
        <p:spPr/>
        <p:txBody>
          <a:bodyPr vert="horz"/>
          <a:lstStyle/>
          <a:p>
            <a:r>
              <a:rPr lang="en-US" dirty="0"/>
              <a:t>Introduction to case study</a:t>
            </a:r>
          </a:p>
        </p:txBody>
      </p:sp>
      <p:sp>
        <p:nvSpPr>
          <p:cNvPr id="13" name="TextBox 12">
            <a:extLst>
              <a:ext uri="{FF2B5EF4-FFF2-40B4-BE49-F238E27FC236}">
                <a16:creationId xmlns:a16="http://schemas.microsoft.com/office/drawing/2014/main" id="{8724CBA5-6BDF-4BDA-9027-7F3A95016ED7}"/>
              </a:ext>
            </a:extLst>
          </p:cNvPr>
          <p:cNvSpPr txBox="1"/>
          <p:nvPr/>
        </p:nvSpPr>
        <p:spPr>
          <a:xfrm>
            <a:off x="0" y="252156"/>
            <a:ext cx="1133475" cy="386019"/>
          </a:xfrm>
          <a:prstGeom prst="rect">
            <a:avLst/>
          </a:prstGeom>
          <a:solidFill>
            <a:srgbClr val="20B66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8 mins</a:t>
            </a:r>
          </a:p>
        </p:txBody>
      </p:sp>
    </p:spTree>
    <p:extLst>
      <p:ext uri="{BB962C8B-B14F-4D97-AF65-F5344CB8AC3E}">
        <p14:creationId xmlns:p14="http://schemas.microsoft.com/office/powerpoint/2010/main" val="2737137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000" b="-1000"/>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BEB31E-3063-4DDA-A1B3-CB80D1E5216A}"/>
              </a:ext>
            </a:extLst>
          </p:cNvPr>
          <p:cNvGraphicFramePr>
            <a:graphicFrameLocks noChangeAspect="1"/>
          </p:cNvGraphicFramePr>
          <p:nvPr>
            <p:custDataLst>
              <p:tags r:id="rId1"/>
            </p:custDataLst>
            <p:extLst>
              <p:ext uri="{D42A27DB-BD31-4B8C-83A1-F6EECF244321}">
                <p14:modId xmlns:p14="http://schemas.microsoft.com/office/powerpoint/2010/main" val="2984089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1BEB31E-3063-4DDA-A1B3-CB80D1E521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BF39A9C-D0D7-41FA-9BB0-6AD2F465C647}"/>
              </a:ext>
            </a:extLst>
          </p:cNvPr>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4" name="Title 3">
            <a:extLst>
              <a:ext uri="{FF2B5EF4-FFF2-40B4-BE49-F238E27FC236}">
                <a16:creationId xmlns:a16="http://schemas.microsoft.com/office/drawing/2014/main" id="{A20D53C9-0099-43E4-AA31-E5A9D1988866}"/>
              </a:ext>
            </a:extLst>
          </p:cNvPr>
          <p:cNvSpPr>
            <a:spLocks noGrp="1"/>
          </p:cNvSpPr>
          <p:nvPr>
            <p:ph type="title"/>
          </p:nvPr>
        </p:nvSpPr>
        <p:spPr>
          <a:xfrm>
            <a:off x="274400" y="592434"/>
            <a:ext cx="5497750" cy="1218795"/>
          </a:xfrm>
        </p:spPr>
        <p:txBody>
          <a:bodyPr vert="horz"/>
          <a:lstStyle/>
          <a:p>
            <a:r>
              <a:rPr lang="en-SG" sz="4400" dirty="0">
                <a:solidFill>
                  <a:schemeClr val="bg1"/>
                </a:solidFill>
              </a:rPr>
              <a:t>Australian metal and mining corporation</a:t>
            </a:r>
          </a:p>
        </p:txBody>
      </p:sp>
      <p:sp>
        <p:nvSpPr>
          <p:cNvPr id="50" name="TextBox 49">
            <a:extLst>
              <a:ext uri="{FF2B5EF4-FFF2-40B4-BE49-F238E27FC236}">
                <a16:creationId xmlns:a16="http://schemas.microsoft.com/office/drawing/2014/main" id="{EDC7B1BE-1991-494B-B9FB-C73088B2FD51}"/>
              </a:ext>
            </a:extLst>
          </p:cNvPr>
          <p:cNvSpPr txBox="1"/>
          <p:nvPr/>
        </p:nvSpPr>
        <p:spPr>
          <a:xfrm>
            <a:off x="274400" y="1896954"/>
            <a:ext cx="3192700" cy="127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Focuses on </a:t>
            </a:r>
            <a:r>
              <a:rPr lang="en-SG" sz="1600" dirty="0">
                <a:solidFill>
                  <a:schemeClr val="bg1"/>
                </a:solidFill>
              </a:rPr>
              <a:t>producing and shipping iron ore, copper, diamonds, gold and uranium all around the globe</a:t>
            </a:r>
            <a:endParaRPr lang="en-US" sz="1600" dirty="0">
              <a:solidFill>
                <a:schemeClr val="bg1"/>
              </a:solidFill>
            </a:endParaRPr>
          </a:p>
        </p:txBody>
      </p:sp>
    </p:spTree>
    <p:extLst>
      <p:ext uri="{BB962C8B-B14F-4D97-AF65-F5344CB8AC3E}">
        <p14:creationId xmlns:p14="http://schemas.microsoft.com/office/powerpoint/2010/main" val="3406144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4313C00-109D-40DD-8FC2-54493FBABF73}"/>
              </a:ext>
            </a:extLst>
          </p:cNvPr>
          <p:cNvGraphicFramePr>
            <a:graphicFrameLocks noChangeAspect="1"/>
          </p:cNvGraphicFramePr>
          <p:nvPr>
            <p:custDataLst>
              <p:tags r:id="rId1"/>
            </p:custDataLst>
            <p:extLst>
              <p:ext uri="{D42A27DB-BD31-4B8C-83A1-F6EECF244321}">
                <p14:modId xmlns:p14="http://schemas.microsoft.com/office/powerpoint/2010/main" val="35835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4313C00-109D-40DD-8FC2-54493FBABF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Placeholder 12" descr="Diagram&#10;&#10;Description automatically generated">
            <a:extLst>
              <a:ext uri="{FF2B5EF4-FFF2-40B4-BE49-F238E27FC236}">
                <a16:creationId xmlns:a16="http://schemas.microsoft.com/office/drawing/2014/main" id="{EF1A88C8-A1E8-4BF1-9953-B9BC74EF3B79}"/>
              </a:ext>
            </a:extLst>
          </p:cNvPr>
          <p:cNvPicPr>
            <a:picLocks noGrp="1" noChangeAspect="1"/>
          </p:cNvPicPr>
          <p:nvPr>
            <p:ph type="pic" sz="quarter" idx="4294967295"/>
          </p:nvPr>
        </p:nvPicPr>
        <p:blipFill>
          <a:blip r:embed="rId5"/>
          <a:srcRect l="16678" r="16678"/>
          <a:stretch>
            <a:fillRect/>
          </a:stretch>
        </p:blipFill>
        <p:spPr>
          <a:xfrm>
            <a:off x="-4762" y="0"/>
            <a:ext cx="6100762" cy="6858000"/>
          </a:xfrm>
        </p:spPr>
      </p:pic>
      <p:sp>
        <p:nvSpPr>
          <p:cNvPr id="20" name="Title 15">
            <a:extLst>
              <a:ext uri="{FF2B5EF4-FFF2-40B4-BE49-F238E27FC236}">
                <a16:creationId xmlns:a16="http://schemas.microsoft.com/office/drawing/2014/main" id="{12000941-B841-46A3-B733-E3FA8C6DF04A}"/>
              </a:ext>
            </a:extLst>
          </p:cNvPr>
          <p:cNvSpPr txBox="1">
            <a:spLocks/>
          </p:cNvSpPr>
          <p:nvPr/>
        </p:nvSpPr>
        <p:spPr>
          <a:xfrm>
            <a:off x="521868" y="756150"/>
            <a:ext cx="5057025" cy="1218795"/>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solidFill>
                <a:latin typeface="+mj-lt"/>
                <a:ea typeface="+mj-ea"/>
                <a:cs typeface="+mj-cs"/>
                <a:sym typeface="Trebuchet MS" panose="020B0603020202020204" pitchFamily="34" charset="0"/>
              </a:defRPr>
            </a:lvl1pPr>
          </a:lstStyle>
          <a:p>
            <a:r>
              <a:rPr lang="en-US" sz="4400" dirty="0">
                <a:solidFill>
                  <a:schemeClr val="bg1"/>
                </a:solidFill>
              </a:rPr>
              <a:t>Business</a:t>
            </a:r>
          </a:p>
          <a:p>
            <a:r>
              <a:rPr lang="en-US" sz="4400" dirty="0">
                <a:solidFill>
                  <a:schemeClr val="bg1"/>
                </a:solidFill>
              </a:rPr>
              <a:t>Problem</a:t>
            </a:r>
          </a:p>
        </p:txBody>
      </p:sp>
      <p:grpSp>
        <p:nvGrpSpPr>
          <p:cNvPr id="2" name="Group 1"/>
          <p:cNvGrpSpPr/>
          <p:nvPr/>
        </p:nvGrpSpPr>
        <p:grpSpPr>
          <a:xfrm>
            <a:off x="6325975" y="1843951"/>
            <a:ext cx="5344157" cy="3170099"/>
            <a:chOff x="6325975" y="1198577"/>
            <a:chExt cx="5344157" cy="3170099"/>
          </a:xfrm>
        </p:grpSpPr>
        <p:sp>
          <p:nvSpPr>
            <p:cNvPr id="21" name="Rectangle 20">
              <a:extLst>
                <a:ext uri="{FF2B5EF4-FFF2-40B4-BE49-F238E27FC236}">
                  <a16:creationId xmlns:a16="http://schemas.microsoft.com/office/drawing/2014/main" id="{B4912C03-C79D-4AE0-AB08-D37E8D1C9A0D}"/>
                </a:ext>
              </a:extLst>
            </p:cNvPr>
            <p:cNvSpPr/>
            <p:nvPr/>
          </p:nvSpPr>
          <p:spPr>
            <a:xfrm>
              <a:off x="7458958" y="1198577"/>
              <a:ext cx="4211174" cy="3170099"/>
            </a:xfrm>
            <a:prstGeom prst="rect">
              <a:avLst/>
            </a:prstGeom>
            <a:noFill/>
            <a:extLst>
              <a:ext uri="{909E8E84-426E-40DD-AFC4-6F175D3DCCD1}">
                <a14:hiddenFill xmlns:a14="http://schemas.microsoft.com/office/drawing/2010/main">
                  <a:solidFill>
                    <a:schemeClr val="accent5">
                      <a:alpha val="50000"/>
                    </a:schemeClr>
                  </a:solidFill>
                </a14:hiddenFill>
              </a:ext>
            </a:extLst>
          </p:spPr>
          <p:txBody>
            <a:bodyPr wrap="square">
              <a:spAutoFit/>
            </a:bodyPr>
            <a:lstStyle/>
            <a:p>
              <a:pPr>
                <a:buSzPct val="100000"/>
                <a:buFont typeface="Trebuchet MS" panose="020B0603020202020204" pitchFamily="34" charset="0"/>
                <a:buChar char="​"/>
              </a:pPr>
              <a:r>
                <a:rPr lang="en-SG" sz="2000" dirty="0">
                  <a:solidFill>
                    <a:schemeClr val="tx1">
                      <a:lumMod val="100000"/>
                    </a:schemeClr>
                  </a:solidFill>
                  <a:latin typeface="Trebuchet MS" panose="020B0603020202020204" pitchFamily="34" charset="0"/>
                  <a:ea typeface="Times New Roman" panose="02020603050405020304" pitchFamily="18" charset="0"/>
                  <a:cs typeface="Times New Roman" panose="02020603050405020304" pitchFamily="18" charset="0"/>
                </a:rPr>
                <a:t>Charterers facing difficulty in hiring/bidding for vessels because of uncertainty around the availability of vessels in future</a:t>
              </a:r>
            </a:p>
            <a:p>
              <a:pPr>
                <a:buSzPct val="100000"/>
                <a:buFont typeface="Trebuchet MS" panose="020B0603020202020204" pitchFamily="34" charset="0"/>
                <a:buChar char="​"/>
              </a:pPr>
              <a:endParaRPr lang="en-SG" sz="2000" dirty="0">
                <a:solidFill>
                  <a:schemeClr val="tx1">
                    <a:lumMod val="100000"/>
                  </a:schemeClr>
                </a:solidFill>
                <a:latin typeface="Trebuchet MS" panose="020B0603020202020204" pitchFamily="34" charset="0"/>
                <a:ea typeface="Times New Roman" panose="02020603050405020304" pitchFamily="18" charset="0"/>
                <a:cs typeface="Times New Roman" panose="02020603050405020304" pitchFamily="18" charset="0"/>
              </a:endParaRPr>
            </a:p>
            <a:p>
              <a:pPr>
                <a:buSzPct val="100000"/>
                <a:buFont typeface="Trebuchet MS" panose="020B0603020202020204" pitchFamily="34" charset="0"/>
                <a:buChar char="​"/>
              </a:pPr>
              <a:endParaRPr lang="en-SG" sz="2000" dirty="0">
                <a:solidFill>
                  <a:schemeClr val="tx1">
                    <a:lumMod val="100000"/>
                  </a:schemeClr>
                </a:solidFill>
                <a:latin typeface="Trebuchet MS" panose="020B0603020202020204" pitchFamily="34" charset="0"/>
                <a:ea typeface="Times New Roman" panose="02020603050405020304" pitchFamily="18" charset="0"/>
                <a:cs typeface="Times New Roman" panose="02020603050405020304" pitchFamily="18" charset="0"/>
              </a:endParaRPr>
            </a:p>
            <a:p>
              <a:pPr>
                <a:buSzPct val="100000"/>
                <a:buFont typeface="Trebuchet MS" panose="020B0603020202020204" pitchFamily="34" charset="0"/>
                <a:buChar char="​"/>
              </a:pPr>
              <a:r>
                <a:rPr lang="en-SG" sz="2000" dirty="0">
                  <a:solidFill>
                    <a:schemeClr val="tx1">
                      <a:lumMod val="100000"/>
                    </a:schemeClr>
                  </a:solidFill>
                  <a:latin typeface="Trebuchet MS" panose="020B0603020202020204" pitchFamily="34" charset="0"/>
                  <a:ea typeface="Times New Roman" panose="02020603050405020304" pitchFamily="18" charset="0"/>
                  <a:cs typeface="Times New Roman" panose="02020603050405020304" pitchFamily="18" charset="0"/>
                </a:rPr>
                <a:t>Bidding for vessels with arrival delays or bidding at the last moment incurs large amount of losses to the client</a:t>
              </a:r>
            </a:p>
          </p:txBody>
        </p:sp>
        <p:grpSp>
          <p:nvGrpSpPr>
            <p:cNvPr id="22" name="bcgIcons_ContainerShip">
              <a:extLst>
                <a:ext uri="{FF2B5EF4-FFF2-40B4-BE49-F238E27FC236}">
                  <a16:creationId xmlns:a16="http://schemas.microsoft.com/office/drawing/2014/main" id="{709C236A-DFCB-4D57-8F1A-69AFAEB896E9}"/>
                </a:ext>
              </a:extLst>
            </p:cNvPr>
            <p:cNvGrpSpPr>
              <a:grpSpLocks noChangeAspect="1"/>
            </p:cNvGrpSpPr>
            <p:nvPr/>
          </p:nvGrpSpPr>
          <p:grpSpPr bwMode="auto">
            <a:xfrm>
              <a:off x="6326393" y="1365547"/>
              <a:ext cx="902172" cy="903008"/>
              <a:chOff x="1682" y="0"/>
              <a:chExt cx="4316" cy="4320"/>
            </a:xfrm>
          </p:grpSpPr>
          <p:sp>
            <p:nvSpPr>
              <p:cNvPr id="23" name="AutoShape 3">
                <a:extLst>
                  <a:ext uri="{FF2B5EF4-FFF2-40B4-BE49-F238E27FC236}">
                    <a16:creationId xmlns:a16="http://schemas.microsoft.com/office/drawing/2014/main" id="{F3DB7ED0-3F4D-4983-B364-6D58EDAD462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5">
                <a:extLst>
                  <a:ext uri="{FF2B5EF4-FFF2-40B4-BE49-F238E27FC236}">
                    <a16:creationId xmlns:a16="http://schemas.microsoft.com/office/drawing/2014/main" id="{591EE808-A9DB-4533-94D5-E0E40C8D9002}"/>
                  </a:ext>
                </a:extLst>
              </p:cNvPr>
              <p:cNvSpPr>
                <a:spLocks noEditPoints="1"/>
              </p:cNvSpPr>
              <p:nvPr/>
            </p:nvSpPr>
            <p:spPr bwMode="auto">
              <a:xfrm>
                <a:off x="2090" y="876"/>
                <a:ext cx="3511" cy="2398"/>
              </a:xfrm>
              <a:custGeom>
                <a:avLst/>
                <a:gdLst>
                  <a:gd name="T0" fmla="*/ 186 w 1874"/>
                  <a:gd name="T1" fmla="*/ 1163 h 1279"/>
                  <a:gd name="T2" fmla="*/ 3 w 1874"/>
                  <a:gd name="T3" fmla="*/ 716 h 1279"/>
                  <a:gd name="T4" fmla="*/ 23 w 1874"/>
                  <a:gd name="T5" fmla="*/ 686 h 1279"/>
                  <a:gd name="T6" fmla="*/ 668 w 1874"/>
                  <a:gd name="T7" fmla="*/ 700 h 1279"/>
                  <a:gd name="T8" fmla="*/ 1836 w 1874"/>
                  <a:gd name="T9" fmla="*/ 766 h 1279"/>
                  <a:gd name="T10" fmla="*/ 1870 w 1874"/>
                  <a:gd name="T11" fmla="*/ 780 h 1279"/>
                  <a:gd name="T12" fmla="*/ 1731 w 1874"/>
                  <a:gd name="T13" fmla="*/ 1130 h 1279"/>
                  <a:gd name="T14" fmla="*/ 1723 w 1874"/>
                  <a:gd name="T15" fmla="*/ 1237 h 1279"/>
                  <a:gd name="T16" fmla="*/ 1725 w 1874"/>
                  <a:gd name="T17" fmla="*/ 1241 h 1279"/>
                  <a:gd name="T18" fmla="*/ 1706 w 1874"/>
                  <a:gd name="T19" fmla="*/ 1273 h 1279"/>
                  <a:gd name="T20" fmla="*/ 340 w 1874"/>
                  <a:gd name="T21" fmla="*/ 1279 h 1279"/>
                  <a:gd name="T22" fmla="*/ 1725 w 1874"/>
                  <a:gd name="T23" fmla="*/ 1246 h 1279"/>
                  <a:gd name="T24" fmla="*/ 1725 w 1874"/>
                  <a:gd name="T25" fmla="*/ 1246 h 1279"/>
                  <a:gd name="T26" fmla="*/ 1725 w 1874"/>
                  <a:gd name="T27" fmla="*/ 1246 h 1279"/>
                  <a:gd name="T28" fmla="*/ 83 w 1874"/>
                  <a:gd name="T29" fmla="*/ 797 h 1279"/>
                  <a:gd name="T30" fmla="*/ 340 w 1874"/>
                  <a:gd name="T31" fmla="*/ 1235 h 1279"/>
                  <a:gd name="T32" fmla="*/ 1672 w 1874"/>
                  <a:gd name="T33" fmla="*/ 1229 h 1279"/>
                  <a:gd name="T34" fmla="*/ 1701 w 1874"/>
                  <a:gd name="T35" fmla="*/ 1098 h 1279"/>
                  <a:gd name="T36" fmla="*/ 1830 w 1874"/>
                  <a:gd name="T37" fmla="*/ 810 h 1279"/>
                  <a:gd name="T38" fmla="*/ 658 w 1874"/>
                  <a:gd name="T39" fmla="*/ 796 h 1279"/>
                  <a:gd name="T40" fmla="*/ 56 w 1874"/>
                  <a:gd name="T41" fmla="*/ 730 h 1279"/>
                  <a:gd name="T42" fmla="*/ 1841 w 1874"/>
                  <a:gd name="T43" fmla="*/ 167 h 1279"/>
                  <a:gd name="T44" fmla="*/ 1656 w 1874"/>
                  <a:gd name="T45" fmla="*/ 22 h 1279"/>
                  <a:gd name="T46" fmla="*/ 1612 w 1874"/>
                  <a:gd name="T47" fmla="*/ 22 h 1279"/>
                  <a:gd name="T48" fmla="*/ 1428 w 1874"/>
                  <a:gd name="T49" fmla="*/ 167 h 1279"/>
                  <a:gd name="T50" fmla="*/ 1411 w 1874"/>
                  <a:gd name="T51" fmla="*/ 202 h 1279"/>
                  <a:gd name="T52" fmla="*/ 1457 w 1874"/>
                  <a:gd name="T53" fmla="*/ 729 h 1279"/>
                  <a:gd name="T54" fmla="*/ 1501 w 1874"/>
                  <a:gd name="T55" fmla="*/ 273 h 1279"/>
                  <a:gd name="T56" fmla="*/ 1768 w 1874"/>
                  <a:gd name="T57" fmla="*/ 729 h 1279"/>
                  <a:gd name="T58" fmla="*/ 1812 w 1874"/>
                  <a:gd name="T59" fmla="*/ 259 h 1279"/>
                  <a:gd name="T60" fmla="*/ 1861 w 1874"/>
                  <a:gd name="T61" fmla="*/ 179 h 1279"/>
                  <a:gd name="T62" fmla="*/ 1474 w 1874"/>
                  <a:gd name="T63" fmla="*/ 211 h 1279"/>
                  <a:gd name="T64" fmla="*/ 1780 w 1874"/>
                  <a:gd name="T65" fmla="*/ 22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74" h="1279">
                    <a:moveTo>
                      <a:pt x="340" y="1279"/>
                    </a:moveTo>
                    <a:cubicBezTo>
                      <a:pt x="266" y="1279"/>
                      <a:pt x="206" y="1208"/>
                      <a:pt x="186" y="1163"/>
                    </a:cubicBezTo>
                    <a:cubicBezTo>
                      <a:pt x="172" y="1132"/>
                      <a:pt x="97" y="948"/>
                      <a:pt x="42" y="814"/>
                    </a:cubicBezTo>
                    <a:cubicBezTo>
                      <a:pt x="26" y="774"/>
                      <a:pt x="12" y="739"/>
                      <a:pt x="3" y="716"/>
                    </a:cubicBezTo>
                    <a:cubicBezTo>
                      <a:pt x="0" y="710"/>
                      <a:pt x="1" y="702"/>
                      <a:pt x="5" y="696"/>
                    </a:cubicBezTo>
                    <a:cubicBezTo>
                      <a:pt x="9" y="690"/>
                      <a:pt x="16" y="686"/>
                      <a:pt x="23" y="686"/>
                    </a:cubicBezTo>
                    <a:cubicBezTo>
                      <a:pt x="647" y="686"/>
                      <a:pt x="647" y="686"/>
                      <a:pt x="647" y="686"/>
                    </a:cubicBezTo>
                    <a:cubicBezTo>
                      <a:pt x="656" y="686"/>
                      <a:pt x="665" y="692"/>
                      <a:pt x="668" y="700"/>
                    </a:cubicBezTo>
                    <a:cubicBezTo>
                      <a:pt x="693" y="766"/>
                      <a:pt x="693" y="766"/>
                      <a:pt x="693" y="766"/>
                    </a:cubicBezTo>
                    <a:cubicBezTo>
                      <a:pt x="1836" y="766"/>
                      <a:pt x="1836" y="766"/>
                      <a:pt x="1836" y="766"/>
                    </a:cubicBezTo>
                    <a:cubicBezTo>
                      <a:pt x="1847" y="766"/>
                      <a:pt x="1852" y="766"/>
                      <a:pt x="1857" y="768"/>
                    </a:cubicBezTo>
                    <a:cubicBezTo>
                      <a:pt x="1863" y="770"/>
                      <a:pt x="1868" y="775"/>
                      <a:pt x="1870" y="780"/>
                    </a:cubicBezTo>
                    <a:cubicBezTo>
                      <a:pt x="1873" y="787"/>
                      <a:pt x="1874" y="797"/>
                      <a:pt x="1874" y="831"/>
                    </a:cubicBezTo>
                    <a:cubicBezTo>
                      <a:pt x="1874" y="940"/>
                      <a:pt x="1826" y="1041"/>
                      <a:pt x="1731" y="1130"/>
                    </a:cubicBezTo>
                    <a:cubicBezTo>
                      <a:pt x="1729" y="1133"/>
                      <a:pt x="1726" y="1136"/>
                      <a:pt x="1725" y="1136"/>
                    </a:cubicBezTo>
                    <a:cubicBezTo>
                      <a:pt x="1696" y="1168"/>
                      <a:pt x="1709" y="1205"/>
                      <a:pt x="1723" y="1237"/>
                    </a:cubicBezTo>
                    <a:cubicBezTo>
                      <a:pt x="1724" y="1238"/>
                      <a:pt x="1724" y="1239"/>
                      <a:pt x="1725" y="1240"/>
                    </a:cubicBezTo>
                    <a:cubicBezTo>
                      <a:pt x="1725" y="1241"/>
                      <a:pt x="1725" y="1241"/>
                      <a:pt x="1725" y="1241"/>
                    </a:cubicBezTo>
                    <a:cubicBezTo>
                      <a:pt x="1728" y="1248"/>
                      <a:pt x="1728" y="1256"/>
                      <a:pt x="1724" y="1262"/>
                    </a:cubicBezTo>
                    <a:cubicBezTo>
                      <a:pt x="1720" y="1269"/>
                      <a:pt x="1713" y="1272"/>
                      <a:pt x="1706" y="1273"/>
                    </a:cubicBezTo>
                    <a:cubicBezTo>
                      <a:pt x="1652" y="1273"/>
                      <a:pt x="1425" y="1274"/>
                      <a:pt x="1187" y="1275"/>
                    </a:cubicBezTo>
                    <a:cubicBezTo>
                      <a:pt x="804" y="1277"/>
                      <a:pt x="378" y="1279"/>
                      <a:pt x="340" y="1279"/>
                    </a:cubicBezTo>
                    <a:close/>
                    <a:moveTo>
                      <a:pt x="1725" y="1246"/>
                    </a:moveTo>
                    <a:cubicBezTo>
                      <a:pt x="1725" y="1246"/>
                      <a:pt x="1725" y="1246"/>
                      <a:pt x="1725" y="1246"/>
                    </a:cubicBezTo>
                    <a:cubicBezTo>
                      <a:pt x="1725" y="1246"/>
                      <a:pt x="1725" y="1246"/>
                      <a:pt x="1725" y="1246"/>
                    </a:cubicBezTo>
                    <a:close/>
                    <a:moveTo>
                      <a:pt x="1725" y="1246"/>
                    </a:moveTo>
                    <a:cubicBezTo>
                      <a:pt x="1725" y="1246"/>
                      <a:pt x="1725" y="1246"/>
                      <a:pt x="1725" y="1246"/>
                    </a:cubicBezTo>
                    <a:cubicBezTo>
                      <a:pt x="1725" y="1246"/>
                      <a:pt x="1725" y="1246"/>
                      <a:pt x="1725" y="1246"/>
                    </a:cubicBezTo>
                    <a:close/>
                    <a:moveTo>
                      <a:pt x="56" y="730"/>
                    </a:moveTo>
                    <a:cubicBezTo>
                      <a:pt x="64" y="749"/>
                      <a:pt x="73" y="772"/>
                      <a:pt x="83" y="797"/>
                    </a:cubicBezTo>
                    <a:cubicBezTo>
                      <a:pt x="135" y="924"/>
                      <a:pt x="212" y="1115"/>
                      <a:pt x="226" y="1145"/>
                    </a:cubicBezTo>
                    <a:cubicBezTo>
                      <a:pt x="243" y="1181"/>
                      <a:pt x="290" y="1235"/>
                      <a:pt x="340" y="1235"/>
                    </a:cubicBezTo>
                    <a:cubicBezTo>
                      <a:pt x="378" y="1235"/>
                      <a:pt x="804" y="1233"/>
                      <a:pt x="1187" y="1231"/>
                    </a:cubicBezTo>
                    <a:cubicBezTo>
                      <a:pt x="1391" y="1231"/>
                      <a:pt x="1587" y="1230"/>
                      <a:pt x="1672" y="1229"/>
                    </a:cubicBezTo>
                    <a:cubicBezTo>
                      <a:pt x="1661" y="1196"/>
                      <a:pt x="1654" y="1149"/>
                      <a:pt x="1692" y="1107"/>
                    </a:cubicBezTo>
                    <a:cubicBezTo>
                      <a:pt x="1694" y="1105"/>
                      <a:pt x="1697" y="1102"/>
                      <a:pt x="1701" y="1098"/>
                    </a:cubicBezTo>
                    <a:cubicBezTo>
                      <a:pt x="1787" y="1018"/>
                      <a:pt x="1830" y="928"/>
                      <a:pt x="1830" y="831"/>
                    </a:cubicBezTo>
                    <a:cubicBezTo>
                      <a:pt x="1830" y="822"/>
                      <a:pt x="1830" y="815"/>
                      <a:pt x="1830" y="810"/>
                    </a:cubicBezTo>
                    <a:cubicBezTo>
                      <a:pt x="678" y="810"/>
                      <a:pt x="678" y="810"/>
                      <a:pt x="678" y="810"/>
                    </a:cubicBezTo>
                    <a:cubicBezTo>
                      <a:pt x="669" y="810"/>
                      <a:pt x="661" y="804"/>
                      <a:pt x="658" y="796"/>
                    </a:cubicBezTo>
                    <a:cubicBezTo>
                      <a:pt x="632" y="730"/>
                      <a:pt x="632" y="730"/>
                      <a:pt x="632" y="730"/>
                    </a:cubicBezTo>
                    <a:lnTo>
                      <a:pt x="56" y="730"/>
                    </a:lnTo>
                    <a:close/>
                    <a:moveTo>
                      <a:pt x="1861" y="179"/>
                    </a:moveTo>
                    <a:cubicBezTo>
                      <a:pt x="1857" y="171"/>
                      <a:pt x="1850" y="167"/>
                      <a:pt x="1841" y="167"/>
                    </a:cubicBezTo>
                    <a:cubicBezTo>
                      <a:pt x="1656" y="167"/>
                      <a:pt x="1656" y="167"/>
                      <a:pt x="1656" y="167"/>
                    </a:cubicBezTo>
                    <a:cubicBezTo>
                      <a:pt x="1656" y="22"/>
                      <a:pt x="1656" y="22"/>
                      <a:pt x="1656" y="22"/>
                    </a:cubicBezTo>
                    <a:cubicBezTo>
                      <a:pt x="1656" y="10"/>
                      <a:pt x="1647" y="0"/>
                      <a:pt x="1634" y="0"/>
                    </a:cubicBezTo>
                    <a:cubicBezTo>
                      <a:pt x="1622" y="0"/>
                      <a:pt x="1612" y="10"/>
                      <a:pt x="1612" y="22"/>
                    </a:cubicBezTo>
                    <a:cubicBezTo>
                      <a:pt x="1612" y="167"/>
                      <a:pt x="1612" y="167"/>
                      <a:pt x="1612" y="167"/>
                    </a:cubicBezTo>
                    <a:cubicBezTo>
                      <a:pt x="1428" y="167"/>
                      <a:pt x="1428" y="167"/>
                      <a:pt x="1428" y="167"/>
                    </a:cubicBezTo>
                    <a:cubicBezTo>
                      <a:pt x="1419" y="167"/>
                      <a:pt x="1411" y="171"/>
                      <a:pt x="1408" y="179"/>
                    </a:cubicBezTo>
                    <a:cubicBezTo>
                      <a:pt x="1404" y="187"/>
                      <a:pt x="1405" y="196"/>
                      <a:pt x="1411" y="202"/>
                    </a:cubicBezTo>
                    <a:cubicBezTo>
                      <a:pt x="1457" y="259"/>
                      <a:pt x="1457" y="259"/>
                      <a:pt x="1457" y="259"/>
                    </a:cubicBezTo>
                    <a:cubicBezTo>
                      <a:pt x="1457" y="729"/>
                      <a:pt x="1457" y="729"/>
                      <a:pt x="1457" y="729"/>
                    </a:cubicBezTo>
                    <a:cubicBezTo>
                      <a:pt x="1501" y="729"/>
                      <a:pt x="1501" y="729"/>
                      <a:pt x="1501" y="729"/>
                    </a:cubicBezTo>
                    <a:cubicBezTo>
                      <a:pt x="1501" y="273"/>
                      <a:pt x="1501" y="273"/>
                      <a:pt x="1501" y="273"/>
                    </a:cubicBezTo>
                    <a:cubicBezTo>
                      <a:pt x="1768" y="273"/>
                      <a:pt x="1768" y="273"/>
                      <a:pt x="1768" y="273"/>
                    </a:cubicBezTo>
                    <a:cubicBezTo>
                      <a:pt x="1768" y="729"/>
                      <a:pt x="1768" y="729"/>
                      <a:pt x="1768" y="729"/>
                    </a:cubicBezTo>
                    <a:cubicBezTo>
                      <a:pt x="1812" y="729"/>
                      <a:pt x="1812" y="729"/>
                      <a:pt x="1812" y="729"/>
                    </a:cubicBezTo>
                    <a:cubicBezTo>
                      <a:pt x="1812" y="259"/>
                      <a:pt x="1812" y="259"/>
                      <a:pt x="1812" y="259"/>
                    </a:cubicBezTo>
                    <a:cubicBezTo>
                      <a:pt x="1858" y="202"/>
                      <a:pt x="1858" y="202"/>
                      <a:pt x="1858" y="202"/>
                    </a:cubicBezTo>
                    <a:cubicBezTo>
                      <a:pt x="1864" y="196"/>
                      <a:pt x="1865" y="187"/>
                      <a:pt x="1861" y="179"/>
                    </a:cubicBezTo>
                    <a:close/>
                    <a:moveTo>
                      <a:pt x="1489" y="229"/>
                    </a:moveTo>
                    <a:cubicBezTo>
                      <a:pt x="1474" y="211"/>
                      <a:pt x="1474" y="211"/>
                      <a:pt x="1474" y="211"/>
                    </a:cubicBezTo>
                    <a:cubicBezTo>
                      <a:pt x="1795" y="211"/>
                      <a:pt x="1795" y="211"/>
                      <a:pt x="1795" y="211"/>
                    </a:cubicBezTo>
                    <a:cubicBezTo>
                      <a:pt x="1780" y="229"/>
                      <a:pt x="1780" y="229"/>
                      <a:pt x="1780" y="229"/>
                    </a:cubicBezTo>
                    <a:lnTo>
                      <a:pt x="1489" y="22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a:extLst>
                  <a:ext uri="{FF2B5EF4-FFF2-40B4-BE49-F238E27FC236}">
                    <a16:creationId xmlns:a16="http://schemas.microsoft.com/office/drawing/2014/main" id="{9C3CF5B2-DEB6-475F-8560-FAAB159E1C36}"/>
                  </a:ext>
                </a:extLst>
              </p:cNvPr>
              <p:cNvSpPr>
                <a:spLocks noEditPoints="1"/>
              </p:cNvSpPr>
              <p:nvPr/>
            </p:nvSpPr>
            <p:spPr bwMode="auto">
              <a:xfrm>
                <a:off x="2739" y="1434"/>
                <a:ext cx="2572" cy="1348"/>
              </a:xfrm>
              <a:custGeom>
                <a:avLst/>
                <a:gdLst>
                  <a:gd name="T0" fmla="*/ 759 w 1373"/>
                  <a:gd name="T1" fmla="*/ 431 h 719"/>
                  <a:gd name="T2" fmla="*/ 749 w 1373"/>
                  <a:gd name="T3" fmla="*/ 254 h 719"/>
                  <a:gd name="T4" fmla="*/ 1024 w 1373"/>
                  <a:gd name="T5" fmla="*/ 244 h 719"/>
                  <a:gd name="T6" fmla="*/ 1034 w 1373"/>
                  <a:gd name="T7" fmla="*/ 421 h 719"/>
                  <a:gd name="T8" fmla="*/ 312 w 1373"/>
                  <a:gd name="T9" fmla="*/ 342 h 719"/>
                  <a:gd name="T10" fmla="*/ 302 w 1373"/>
                  <a:gd name="T11" fmla="*/ 129 h 719"/>
                  <a:gd name="T12" fmla="*/ 0 w 1373"/>
                  <a:gd name="T13" fmla="*/ 139 h 719"/>
                  <a:gd name="T14" fmla="*/ 10 w 1373"/>
                  <a:gd name="T15" fmla="*/ 352 h 719"/>
                  <a:gd name="T16" fmla="*/ 312 w 1373"/>
                  <a:gd name="T17" fmla="*/ 342 h 719"/>
                  <a:gd name="T18" fmla="*/ 399 w 1373"/>
                  <a:gd name="T19" fmla="*/ 431 h 719"/>
                  <a:gd name="T20" fmla="*/ 389 w 1373"/>
                  <a:gd name="T21" fmla="*/ 58 h 719"/>
                  <a:gd name="T22" fmla="*/ 700 w 1373"/>
                  <a:gd name="T23" fmla="*/ 48 h 719"/>
                  <a:gd name="T24" fmla="*/ 710 w 1373"/>
                  <a:gd name="T25" fmla="*/ 421 h 719"/>
                  <a:gd name="T26" fmla="*/ 1024 w 1373"/>
                  <a:gd name="T27" fmla="*/ 205 h 719"/>
                  <a:gd name="T28" fmla="*/ 749 w 1373"/>
                  <a:gd name="T29" fmla="*/ 195 h 719"/>
                  <a:gd name="T30" fmla="*/ 759 w 1373"/>
                  <a:gd name="T31" fmla="*/ 0 h 719"/>
                  <a:gd name="T32" fmla="*/ 1034 w 1373"/>
                  <a:gd name="T33" fmla="*/ 10 h 719"/>
                  <a:gd name="T34" fmla="*/ 1024 w 1373"/>
                  <a:gd name="T35" fmla="*/ 205 h 719"/>
                  <a:gd name="T36" fmla="*/ 1214 w 1373"/>
                  <a:gd name="T37" fmla="*/ 122 h 719"/>
                  <a:gd name="T38" fmla="*/ 1204 w 1373"/>
                  <a:gd name="T39" fmla="*/ 34 h 719"/>
                  <a:gd name="T40" fmla="*/ 1265 w 1373"/>
                  <a:gd name="T41" fmla="*/ 24 h 719"/>
                  <a:gd name="T42" fmla="*/ 1275 w 1373"/>
                  <a:gd name="T43" fmla="*/ 112 h 719"/>
                  <a:gd name="T44" fmla="*/ 1363 w 1373"/>
                  <a:gd name="T45" fmla="*/ 122 h 719"/>
                  <a:gd name="T46" fmla="*/ 1302 w 1373"/>
                  <a:gd name="T47" fmla="*/ 112 h 719"/>
                  <a:gd name="T48" fmla="*/ 1312 w 1373"/>
                  <a:gd name="T49" fmla="*/ 24 h 719"/>
                  <a:gd name="T50" fmla="*/ 1373 w 1373"/>
                  <a:gd name="T51" fmla="*/ 34 h 719"/>
                  <a:gd name="T52" fmla="*/ 1363 w 1373"/>
                  <a:gd name="T53" fmla="*/ 122 h 719"/>
                  <a:gd name="T54" fmla="*/ 781 w 1373"/>
                  <a:gd name="T55" fmla="*/ 653 h 719"/>
                  <a:gd name="T56" fmla="*/ 913 w 1373"/>
                  <a:gd name="T57" fmla="*/ 653 h 719"/>
                  <a:gd name="T58" fmla="*/ 1041 w 1373"/>
                  <a:gd name="T59" fmla="*/ 719 h 719"/>
                  <a:gd name="T60" fmla="*/ 1041 w 1373"/>
                  <a:gd name="T61" fmla="*/ 587 h 719"/>
                  <a:gd name="T62" fmla="*/ 1041 w 1373"/>
                  <a:gd name="T63" fmla="*/ 719 h 719"/>
                  <a:gd name="T64" fmla="*/ 1168 w 1373"/>
                  <a:gd name="T65" fmla="*/ 653 h 719"/>
                  <a:gd name="T66" fmla="*/ 1300 w 1373"/>
                  <a:gd name="T67" fmla="*/ 65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73" h="719">
                    <a:moveTo>
                      <a:pt x="1024" y="431"/>
                    </a:moveTo>
                    <a:cubicBezTo>
                      <a:pt x="759" y="431"/>
                      <a:pt x="759" y="431"/>
                      <a:pt x="759" y="431"/>
                    </a:cubicBezTo>
                    <a:cubicBezTo>
                      <a:pt x="754" y="431"/>
                      <a:pt x="749" y="427"/>
                      <a:pt x="749" y="421"/>
                    </a:cubicBezTo>
                    <a:cubicBezTo>
                      <a:pt x="749" y="254"/>
                      <a:pt x="749" y="254"/>
                      <a:pt x="749" y="254"/>
                    </a:cubicBezTo>
                    <a:cubicBezTo>
                      <a:pt x="749" y="248"/>
                      <a:pt x="754" y="244"/>
                      <a:pt x="759" y="244"/>
                    </a:cubicBezTo>
                    <a:cubicBezTo>
                      <a:pt x="1024" y="244"/>
                      <a:pt x="1024" y="244"/>
                      <a:pt x="1024" y="244"/>
                    </a:cubicBezTo>
                    <a:cubicBezTo>
                      <a:pt x="1030" y="244"/>
                      <a:pt x="1034" y="248"/>
                      <a:pt x="1034" y="254"/>
                    </a:cubicBezTo>
                    <a:cubicBezTo>
                      <a:pt x="1034" y="421"/>
                      <a:pt x="1034" y="421"/>
                      <a:pt x="1034" y="421"/>
                    </a:cubicBezTo>
                    <a:cubicBezTo>
                      <a:pt x="1034" y="427"/>
                      <a:pt x="1030" y="431"/>
                      <a:pt x="1024" y="431"/>
                    </a:cubicBezTo>
                    <a:close/>
                    <a:moveTo>
                      <a:pt x="312" y="342"/>
                    </a:moveTo>
                    <a:cubicBezTo>
                      <a:pt x="312" y="139"/>
                      <a:pt x="312" y="139"/>
                      <a:pt x="312" y="139"/>
                    </a:cubicBezTo>
                    <a:cubicBezTo>
                      <a:pt x="312" y="133"/>
                      <a:pt x="308" y="129"/>
                      <a:pt x="302" y="129"/>
                    </a:cubicBezTo>
                    <a:cubicBezTo>
                      <a:pt x="10" y="129"/>
                      <a:pt x="10" y="129"/>
                      <a:pt x="10" y="129"/>
                    </a:cubicBezTo>
                    <a:cubicBezTo>
                      <a:pt x="5" y="129"/>
                      <a:pt x="0" y="133"/>
                      <a:pt x="0" y="139"/>
                    </a:cubicBezTo>
                    <a:cubicBezTo>
                      <a:pt x="0" y="342"/>
                      <a:pt x="0" y="342"/>
                      <a:pt x="0" y="342"/>
                    </a:cubicBezTo>
                    <a:cubicBezTo>
                      <a:pt x="0" y="347"/>
                      <a:pt x="5" y="352"/>
                      <a:pt x="10" y="352"/>
                    </a:cubicBezTo>
                    <a:cubicBezTo>
                      <a:pt x="302" y="352"/>
                      <a:pt x="302" y="352"/>
                      <a:pt x="302" y="352"/>
                    </a:cubicBezTo>
                    <a:cubicBezTo>
                      <a:pt x="308" y="352"/>
                      <a:pt x="312" y="347"/>
                      <a:pt x="312" y="342"/>
                    </a:cubicBezTo>
                    <a:close/>
                    <a:moveTo>
                      <a:pt x="700" y="431"/>
                    </a:moveTo>
                    <a:cubicBezTo>
                      <a:pt x="399" y="431"/>
                      <a:pt x="399" y="431"/>
                      <a:pt x="399" y="431"/>
                    </a:cubicBezTo>
                    <a:cubicBezTo>
                      <a:pt x="394" y="431"/>
                      <a:pt x="389" y="427"/>
                      <a:pt x="389" y="421"/>
                    </a:cubicBezTo>
                    <a:cubicBezTo>
                      <a:pt x="389" y="58"/>
                      <a:pt x="389" y="58"/>
                      <a:pt x="389" y="58"/>
                    </a:cubicBezTo>
                    <a:cubicBezTo>
                      <a:pt x="389" y="52"/>
                      <a:pt x="394" y="48"/>
                      <a:pt x="399" y="48"/>
                    </a:cubicBezTo>
                    <a:cubicBezTo>
                      <a:pt x="700" y="48"/>
                      <a:pt x="700" y="48"/>
                      <a:pt x="700" y="48"/>
                    </a:cubicBezTo>
                    <a:cubicBezTo>
                      <a:pt x="706" y="48"/>
                      <a:pt x="710" y="52"/>
                      <a:pt x="710" y="58"/>
                    </a:cubicBezTo>
                    <a:cubicBezTo>
                      <a:pt x="710" y="421"/>
                      <a:pt x="710" y="421"/>
                      <a:pt x="710" y="421"/>
                    </a:cubicBezTo>
                    <a:cubicBezTo>
                      <a:pt x="710" y="427"/>
                      <a:pt x="706" y="431"/>
                      <a:pt x="700" y="431"/>
                    </a:cubicBezTo>
                    <a:close/>
                    <a:moveTo>
                      <a:pt x="1024" y="205"/>
                    </a:moveTo>
                    <a:cubicBezTo>
                      <a:pt x="759" y="205"/>
                      <a:pt x="759" y="205"/>
                      <a:pt x="759" y="205"/>
                    </a:cubicBezTo>
                    <a:cubicBezTo>
                      <a:pt x="754" y="205"/>
                      <a:pt x="749" y="201"/>
                      <a:pt x="749" y="195"/>
                    </a:cubicBezTo>
                    <a:cubicBezTo>
                      <a:pt x="749" y="10"/>
                      <a:pt x="749" y="10"/>
                      <a:pt x="749" y="10"/>
                    </a:cubicBezTo>
                    <a:cubicBezTo>
                      <a:pt x="749" y="4"/>
                      <a:pt x="754" y="0"/>
                      <a:pt x="759" y="0"/>
                    </a:cubicBezTo>
                    <a:cubicBezTo>
                      <a:pt x="1024" y="0"/>
                      <a:pt x="1024" y="0"/>
                      <a:pt x="1024" y="0"/>
                    </a:cubicBezTo>
                    <a:cubicBezTo>
                      <a:pt x="1030" y="0"/>
                      <a:pt x="1034" y="4"/>
                      <a:pt x="1034" y="10"/>
                    </a:cubicBezTo>
                    <a:cubicBezTo>
                      <a:pt x="1034" y="195"/>
                      <a:pt x="1034" y="195"/>
                      <a:pt x="1034" y="195"/>
                    </a:cubicBezTo>
                    <a:cubicBezTo>
                      <a:pt x="1034" y="201"/>
                      <a:pt x="1030" y="205"/>
                      <a:pt x="1024" y="205"/>
                    </a:cubicBezTo>
                    <a:close/>
                    <a:moveTo>
                      <a:pt x="1265" y="122"/>
                    </a:moveTo>
                    <a:cubicBezTo>
                      <a:pt x="1214" y="122"/>
                      <a:pt x="1214" y="122"/>
                      <a:pt x="1214" y="122"/>
                    </a:cubicBezTo>
                    <a:cubicBezTo>
                      <a:pt x="1208" y="122"/>
                      <a:pt x="1204" y="118"/>
                      <a:pt x="1204" y="112"/>
                    </a:cubicBezTo>
                    <a:cubicBezTo>
                      <a:pt x="1204" y="34"/>
                      <a:pt x="1204" y="34"/>
                      <a:pt x="1204" y="34"/>
                    </a:cubicBezTo>
                    <a:cubicBezTo>
                      <a:pt x="1204" y="29"/>
                      <a:pt x="1208" y="24"/>
                      <a:pt x="1214" y="24"/>
                    </a:cubicBezTo>
                    <a:cubicBezTo>
                      <a:pt x="1265" y="24"/>
                      <a:pt x="1265" y="24"/>
                      <a:pt x="1265" y="24"/>
                    </a:cubicBezTo>
                    <a:cubicBezTo>
                      <a:pt x="1271" y="24"/>
                      <a:pt x="1275" y="29"/>
                      <a:pt x="1275" y="34"/>
                    </a:cubicBezTo>
                    <a:cubicBezTo>
                      <a:pt x="1275" y="112"/>
                      <a:pt x="1275" y="112"/>
                      <a:pt x="1275" y="112"/>
                    </a:cubicBezTo>
                    <a:cubicBezTo>
                      <a:pt x="1275" y="118"/>
                      <a:pt x="1271" y="122"/>
                      <a:pt x="1265" y="122"/>
                    </a:cubicBezTo>
                    <a:close/>
                    <a:moveTo>
                      <a:pt x="1363" y="122"/>
                    </a:moveTo>
                    <a:cubicBezTo>
                      <a:pt x="1312" y="122"/>
                      <a:pt x="1312" y="122"/>
                      <a:pt x="1312" y="122"/>
                    </a:cubicBezTo>
                    <a:cubicBezTo>
                      <a:pt x="1306" y="122"/>
                      <a:pt x="1302" y="118"/>
                      <a:pt x="1302" y="112"/>
                    </a:cubicBezTo>
                    <a:cubicBezTo>
                      <a:pt x="1302" y="34"/>
                      <a:pt x="1302" y="34"/>
                      <a:pt x="1302" y="34"/>
                    </a:cubicBezTo>
                    <a:cubicBezTo>
                      <a:pt x="1302" y="29"/>
                      <a:pt x="1306" y="24"/>
                      <a:pt x="1312" y="24"/>
                    </a:cubicBezTo>
                    <a:cubicBezTo>
                      <a:pt x="1363" y="24"/>
                      <a:pt x="1363" y="24"/>
                      <a:pt x="1363" y="24"/>
                    </a:cubicBezTo>
                    <a:cubicBezTo>
                      <a:pt x="1369" y="24"/>
                      <a:pt x="1373" y="29"/>
                      <a:pt x="1373" y="34"/>
                    </a:cubicBezTo>
                    <a:cubicBezTo>
                      <a:pt x="1373" y="112"/>
                      <a:pt x="1373" y="112"/>
                      <a:pt x="1373" y="112"/>
                    </a:cubicBezTo>
                    <a:cubicBezTo>
                      <a:pt x="1373" y="118"/>
                      <a:pt x="1369" y="122"/>
                      <a:pt x="1363" y="122"/>
                    </a:cubicBezTo>
                    <a:close/>
                    <a:moveTo>
                      <a:pt x="847" y="719"/>
                    </a:moveTo>
                    <a:cubicBezTo>
                      <a:pt x="811" y="719"/>
                      <a:pt x="781" y="690"/>
                      <a:pt x="781" y="653"/>
                    </a:cubicBezTo>
                    <a:cubicBezTo>
                      <a:pt x="781" y="617"/>
                      <a:pt x="811" y="587"/>
                      <a:pt x="847" y="587"/>
                    </a:cubicBezTo>
                    <a:cubicBezTo>
                      <a:pt x="884" y="587"/>
                      <a:pt x="913" y="617"/>
                      <a:pt x="913" y="653"/>
                    </a:cubicBezTo>
                    <a:cubicBezTo>
                      <a:pt x="913" y="690"/>
                      <a:pt x="884" y="719"/>
                      <a:pt x="847" y="719"/>
                    </a:cubicBezTo>
                    <a:close/>
                    <a:moveTo>
                      <a:pt x="1041" y="719"/>
                    </a:moveTo>
                    <a:cubicBezTo>
                      <a:pt x="1004" y="719"/>
                      <a:pt x="975" y="690"/>
                      <a:pt x="975" y="653"/>
                    </a:cubicBezTo>
                    <a:cubicBezTo>
                      <a:pt x="975" y="617"/>
                      <a:pt x="1004" y="587"/>
                      <a:pt x="1041" y="587"/>
                    </a:cubicBezTo>
                    <a:cubicBezTo>
                      <a:pt x="1077" y="587"/>
                      <a:pt x="1107" y="617"/>
                      <a:pt x="1107" y="653"/>
                    </a:cubicBezTo>
                    <a:cubicBezTo>
                      <a:pt x="1107" y="690"/>
                      <a:pt x="1077" y="719"/>
                      <a:pt x="1041" y="719"/>
                    </a:cubicBezTo>
                    <a:close/>
                    <a:moveTo>
                      <a:pt x="1234" y="719"/>
                    </a:moveTo>
                    <a:cubicBezTo>
                      <a:pt x="1198" y="719"/>
                      <a:pt x="1168" y="690"/>
                      <a:pt x="1168" y="653"/>
                    </a:cubicBezTo>
                    <a:cubicBezTo>
                      <a:pt x="1168" y="617"/>
                      <a:pt x="1198" y="587"/>
                      <a:pt x="1234" y="587"/>
                    </a:cubicBezTo>
                    <a:cubicBezTo>
                      <a:pt x="1271" y="587"/>
                      <a:pt x="1300" y="617"/>
                      <a:pt x="1300" y="653"/>
                    </a:cubicBezTo>
                    <a:cubicBezTo>
                      <a:pt x="1300" y="690"/>
                      <a:pt x="1271" y="719"/>
                      <a:pt x="1234"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a:extLst>
                <a:ext uri="{FF2B5EF4-FFF2-40B4-BE49-F238E27FC236}">
                  <a16:creationId xmlns:a16="http://schemas.microsoft.com/office/drawing/2014/main" id="{BC8EB954-208D-4F2E-BF60-3120D702A21D}"/>
                </a:ext>
              </a:extLst>
            </p:cNvPr>
            <p:cNvGrpSpPr>
              <a:grpSpLocks noChangeAspect="1"/>
            </p:cNvGrpSpPr>
            <p:nvPr/>
          </p:nvGrpSpPr>
          <p:grpSpPr>
            <a:xfrm>
              <a:off x="6325975" y="3182112"/>
              <a:ext cx="903007" cy="903008"/>
              <a:chOff x="8263467" y="2265363"/>
              <a:chExt cx="1646237" cy="1646238"/>
            </a:xfrm>
          </p:grpSpPr>
          <p:sp>
            <p:nvSpPr>
              <p:cNvPr id="27" name="AutoShape 92">
                <a:extLst>
                  <a:ext uri="{FF2B5EF4-FFF2-40B4-BE49-F238E27FC236}">
                    <a16:creationId xmlns:a16="http://schemas.microsoft.com/office/drawing/2014/main" id="{5D999DE7-045C-45C5-9EFE-D4F8D8C4D474}"/>
                  </a:ext>
                </a:extLst>
              </p:cNvPr>
              <p:cNvSpPr>
                <a:spLocks noChangeAspect="1" noChangeArrowheads="1" noTextEdit="1"/>
              </p:cNvSpPr>
              <p:nvPr/>
            </p:nvSpPr>
            <p:spPr bwMode="auto">
              <a:xfrm>
                <a:off x="8263467" y="2265363"/>
                <a:ext cx="1646237"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8" name="Group 27">
                <a:extLst>
                  <a:ext uri="{FF2B5EF4-FFF2-40B4-BE49-F238E27FC236}">
                    <a16:creationId xmlns:a16="http://schemas.microsoft.com/office/drawing/2014/main" id="{1A6D06B4-153C-4A2F-AFE4-A9CA1500F6C2}"/>
                  </a:ext>
                </a:extLst>
              </p:cNvPr>
              <p:cNvGrpSpPr/>
              <p:nvPr/>
            </p:nvGrpSpPr>
            <p:grpSpPr>
              <a:xfrm>
                <a:off x="8692885" y="2434522"/>
                <a:ext cx="787400" cy="1307921"/>
                <a:chOff x="8692092" y="2433639"/>
                <a:chExt cx="787400" cy="1307921"/>
              </a:xfrm>
            </p:grpSpPr>
            <p:sp>
              <p:nvSpPr>
                <p:cNvPr id="29" name="Freeform 59">
                  <a:extLst>
                    <a:ext uri="{FF2B5EF4-FFF2-40B4-BE49-F238E27FC236}">
                      <a16:creationId xmlns:a16="http://schemas.microsoft.com/office/drawing/2014/main" id="{CDF950B3-AA86-4016-AB7F-C0F8793A9009}"/>
                    </a:ext>
                  </a:extLst>
                </p:cNvPr>
                <p:cNvSpPr>
                  <a:spLocks/>
                </p:cNvSpPr>
                <p:nvPr/>
              </p:nvSpPr>
              <p:spPr bwMode="auto">
                <a:xfrm rot="10800000">
                  <a:off x="8692092" y="2433639"/>
                  <a:ext cx="787400" cy="1307921"/>
                </a:xfrm>
                <a:custGeom>
                  <a:avLst/>
                  <a:gdLst>
                    <a:gd name="connsiteX0" fmla="*/ 741224 w 787400"/>
                    <a:gd name="connsiteY0" fmla="*/ 441255 h 1307921"/>
                    <a:gd name="connsiteX1" fmla="*/ 708088 w 787400"/>
                    <a:gd name="connsiteY1" fmla="*/ 427292 h 1307921"/>
                    <a:gd name="connsiteX2" fmla="*/ 440144 w 787400"/>
                    <a:gd name="connsiteY2" fmla="*/ 158780 h 1307921"/>
                    <a:gd name="connsiteX3" fmla="*/ 440144 w 787400"/>
                    <a:gd name="connsiteY3" fmla="*/ 440897 h 1307921"/>
                    <a:gd name="connsiteX4" fmla="*/ 408705 w 787400"/>
                    <a:gd name="connsiteY4" fmla="*/ 437317 h 1307921"/>
                    <a:gd name="connsiteX5" fmla="*/ 408705 w 787400"/>
                    <a:gd name="connsiteY5" fmla="*/ 120831 h 1307921"/>
                    <a:gd name="connsiteX6" fmla="*/ 418708 w 787400"/>
                    <a:gd name="connsiteY6" fmla="*/ 106510 h 1307921"/>
                    <a:gd name="connsiteX7" fmla="*/ 435857 w 787400"/>
                    <a:gd name="connsiteY7" fmla="*/ 109374 h 1307921"/>
                    <a:gd name="connsiteX8" fmla="*/ 730238 w 787400"/>
                    <a:gd name="connsiteY8" fmla="*/ 405095 h 1307921"/>
                    <a:gd name="connsiteX9" fmla="*/ 751674 w 787400"/>
                    <a:gd name="connsiteY9" fmla="*/ 405095 h 1307921"/>
                    <a:gd name="connsiteX10" fmla="*/ 755961 w 787400"/>
                    <a:gd name="connsiteY10" fmla="*/ 394355 h 1307921"/>
                    <a:gd name="connsiteX11" fmla="*/ 751674 w 787400"/>
                    <a:gd name="connsiteY11" fmla="*/ 384330 h 1307921"/>
                    <a:gd name="connsiteX12" fmla="*/ 404418 w 787400"/>
                    <a:gd name="connsiteY12" fmla="*/ 36339 h 1307921"/>
                    <a:gd name="connsiteX13" fmla="*/ 402989 w 787400"/>
                    <a:gd name="connsiteY13" fmla="*/ 34907 h 1307921"/>
                    <a:gd name="connsiteX14" fmla="*/ 399416 w 787400"/>
                    <a:gd name="connsiteY14" fmla="*/ 32759 h 1307921"/>
                    <a:gd name="connsiteX15" fmla="*/ 395129 w 787400"/>
                    <a:gd name="connsiteY15" fmla="*/ 31327 h 1307921"/>
                    <a:gd name="connsiteX16" fmla="*/ 392271 w 787400"/>
                    <a:gd name="connsiteY16" fmla="*/ 31327 h 1307921"/>
                    <a:gd name="connsiteX17" fmla="*/ 386555 w 787400"/>
                    <a:gd name="connsiteY17" fmla="*/ 33475 h 1307921"/>
                    <a:gd name="connsiteX18" fmla="*/ 384411 w 787400"/>
                    <a:gd name="connsiteY18" fmla="*/ 34907 h 1307921"/>
                    <a:gd name="connsiteX19" fmla="*/ 382982 w 787400"/>
                    <a:gd name="connsiteY19" fmla="*/ 35623 h 1307921"/>
                    <a:gd name="connsiteX20" fmla="*/ 382982 w 787400"/>
                    <a:gd name="connsiteY20" fmla="*/ 36339 h 1307921"/>
                    <a:gd name="connsiteX21" fmla="*/ 35726 w 787400"/>
                    <a:gd name="connsiteY21" fmla="*/ 384330 h 1307921"/>
                    <a:gd name="connsiteX22" fmla="*/ 31439 w 787400"/>
                    <a:gd name="connsiteY22" fmla="*/ 394355 h 1307921"/>
                    <a:gd name="connsiteX23" fmla="*/ 35726 w 787400"/>
                    <a:gd name="connsiteY23" fmla="*/ 405095 h 1307921"/>
                    <a:gd name="connsiteX24" fmla="*/ 57162 w 787400"/>
                    <a:gd name="connsiteY24" fmla="*/ 405095 h 1307921"/>
                    <a:gd name="connsiteX25" fmla="*/ 351543 w 787400"/>
                    <a:gd name="connsiteY25" fmla="*/ 109374 h 1307921"/>
                    <a:gd name="connsiteX26" fmla="*/ 362976 w 787400"/>
                    <a:gd name="connsiteY26" fmla="*/ 105078 h 1307921"/>
                    <a:gd name="connsiteX27" fmla="*/ 368692 w 787400"/>
                    <a:gd name="connsiteY27" fmla="*/ 106510 h 1307921"/>
                    <a:gd name="connsiteX28" fmla="*/ 378695 w 787400"/>
                    <a:gd name="connsiteY28" fmla="*/ 120831 h 1307921"/>
                    <a:gd name="connsiteX29" fmla="*/ 378695 w 787400"/>
                    <a:gd name="connsiteY29" fmla="*/ 437317 h 1307921"/>
                    <a:gd name="connsiteX30" fmla="*/ 347256 w 787400"/>
                    <a:gd name="connsiteY30" fmla="*/ 440897 h 1307921"/>
                    <a:gd name="connsiteX31" fmla="*/ 347256 w 787400"/>
                    <a:gd name="connsiteY31" fmla="*/ 158780 h 1307921"/>
                    <a:gd name="connsiteX32" fmla="*/ 79312 w 787400"/>
                    <a:gd name="connsiteY32" fmla="*/ 427292 h 1307921"/>
                    <a:gd name="connsiteX33" fmla="*/ 13576 w 787400"/>
                    <a:gd name="connsiteY33" fmla="*/ 427292 h 1307921"/>
                    <a:gd name="connsiteX34" fmla="*/ 0 w 787400"/>
                    <a:gd name="connsiteY34" fmla="*/ 394355 h 1307921"/>
                    <a:gd name="connsiteX35" fmla="*/ 13576 w 787400"/>
                    <a:gd name="connsiteY35" fmla="*/ 362133 h 1307921"/>
                    <a:gd name="connsiteX36" fmla="*/ 360832 w 787400"/>
                    <a:gd name="connsiteY36" fmla="*/ 13426 h 1307921"/>
                    <a:gd name="connsiteX37" fmla="*/ 361547 w 787400"/>
                    <a:gd name="connsiteY37" fmla="*/ 13426 h 1307921"/>
                    <a:gd name="connsiteX38" fmla="*/ 364405 w 787400"/>
                    <a:gd name="connsiteY38" fmla="*/ 10562 h 1307921"/>
                    <a:gd name="connsiteX39" fmla="*/ 365834 w 787400"/>
                    <a:gd name="connsiteY39" fmla="*/ 9130 h 1307921"/>
                    <a:gd name="connsiteX40" fmla="*/ 367977 w 787400"/>
                    <a:gd name="connsiteY40" fmla="*/ 7697 h 1307921"/>
                    <a:gd name="connsiteX41" fmla="*/ 369406 w 787400"/>
                    <a:gd name="connsiteY41" fmla="*/ 6981 h 1307921"/>
                    <a:gd name="connsiteX42" fmla="*/ 370121 w 787400"/>
                    <a:gd name="connsiteY42" fmla="*/ 6265 h 1307921"/>
                    <a:gd name="connsiteX43" fmla="*/ 371550 w 787400"/>
                    <a:gd name="connsiteY43" fmla="*/ 5549 h 1307921"/>
                    <a:gd name="connsiteX44" fmla="*/ 373693 w 787400"/>
                    <a:gd name="connsiteY44" fmla="*/ 4833 h 1307921"/>
                    <a:gd name="connsiteX45" fmla="*/ 374408 w 787400"/>
                    <a:gd name="connsiteY45" fmla="*/ 4117 h 1307921"/>
                    <a:gd name="connsiteX46" fmla="*/ 375837 w 787400"/>
                    <a:gd name="connsiteY46" fmla="*/ 3401 h 1307921"/>
                    <a:gd name="connsiteX47" fmla="*/ 377981 w 787400"/>
                    <a:gd name="connsiteY47" fmla="*/ 2685 h 1307921"/>
                    <a:gd name="connsiteX48" fmla="*/ 380124 w 787400"/>
                    <a:gd name="connsiteY48" fmla="*/ 1969 h 1307921"/>
                    <a:gd name="connsiteX49" fmla="*/ 382268 w 787400"/>
                    <a:gd name="connsiteY49" fmla="*/ 1253 h 1307921"/>
                    <a:gd name="connsiteX50" fmla="*/ 384411 w 787400"/>
                    <a:gd name="connsiteY50" fmla="*/ 1253 h 1307921"/>
                    <a:gd name="connsiteX51" fmla="*/ 386555 w 787400"/>
                    <a:gd name="connsiteY51" fmla="*/ 537 h 1307921"/>
                    <a:gd name="connsiteX52" fmla="*/ 387269 w 787400"/>
                    <a:gd name="connsiteY52" fmla="*/ 537 h 1307921"/>
                    <a:gd name="connsiteX53" fmla="*/ 389413 w 787400"/>
                    <a:gd name="connsiteY53" fmla="*/ 537 h 1307921"/>
                    <a:gd name="connsiteX54" fmla="*/ 397987 w 787400"/>
                    <a:gd name="connsiteY54" fmla="*/ 537 h 1307921"/>
                    <a:gd name="connsiteX55" fmla="*/ 400131 w 787400"/>
                    <a:gd name="connsiteY55" fmla="*/ 537 h 1307921"/>
                    <a:gd name="connsiteX56" fmla="*/ 400845 w 787400"/>
                    <a:gd name="connsiteY56" fmla="*/ 537 h 1307921"/>
                    <a:gd name="connsiteX57" fmla="*/ 402989 w 787400"/>
                    <a:gd name="connsiteY57" fmla="*/ 1253 h 1307921"/>
                    <a:gd name="connsiteX58" fmla="*/ 404418 w 787400"/>
                    <a:gd name="connsiteY58" fmla="*/ 1253 h 1307921"/>
                    <a:gd name="connsiteX59" fmla="*/ 405132 w 787400"/>
                    <a:gd name="connsiteY59" fmla="*/ 1253 h 1307921"/>
                    <a:gd name="connsiteX60" fmla="*/ 407276 w 787400"/>
                    <a:gd name="connsiteY60" fmla="*/ 1969 h 1307921"/>
                    <a:gd name="connsiteX61" fmla="*/ 409419 w 787400"/>
                    <a:gd name="connsiteY61" fmla="*/ 2685 h 1307921"/>
                    <a:gd name="connsiteX62" fmla="*/ 411563 w 787400"/>
                    <a:gd name="connsiteY62" fmla="*/ 3401 h 1307921"/>
                    <a:gd name="connsiteX63" fmla="*/ 412992 w 787400"/>
                    <a:gd name="connsiteY63" fmla="*/ 4117 h 1307921"/>
                    <a:gd name="connsiteX64" fmla="*/ 413707 w 787400"/>
                    <a:gd name="connsiteY64" fmla="*/ 4833 h 1307921"/>
                    <a:gd name="connsiteX65" fmla="*/ 415850 w 787400"/>
                    <a:gd name="connsiteY65" fmla="*/ 5549 h 1307921"/>
                    <a:gd name="connsiteX66" fmla="*/ 417279 w 787400"/>
                    <a:gd name="connsiteY66" fmla="*/ 6265 h 1307921"/>
                    <a:gd name="connsiteX67" fmla="*/ 417279 w 787400"/>
                    <a:gd name="connsiteY67" fmla="*/ 6981 h 1307921"/>
                    <a:gd name="connsiteX68" fmla="*/ 419423 w 787400"/>
                    <a:gd name="connsiteY68" fmla="*/ 7697 h 1307921"/>
                    <a:gd name="connsiteX69" fmla="*/ 420852 w 787400"/>
                    <a:gd name="connsiteY69" fmla="*/ 9130 h 1307921"/>
                    <a:gd name="connsiteX70" fmla="*/ 421566 w 787400"/>
                    <a:gd name="connsiteY70" fmla="*/ 9130 h 1307921"/>
                    <a:gd name="connsiteX71" fmla="*/ 422995 w 787400"/>
                    <a:gd name="connsiteY71" fmla="*/ 10562 h 1307921"/>
                    <a:gd name="connsiteX72" fmla="*/ 425853 w 787400"/>
                    <a:gd name="connsiteY72" fmla="*/ 13426 h 1307921"/>
                    <a:gd name="connsiteX73" fmla="*/ 426568 w 787400"/>
                    <a:gd name="connsiteY73" fmla="*/ 13426 h 1307921"/>
                    <a:gd name="connsiteX74" fmla="*/ 773824 w 787400"/>
                    <a:gd name="connsiteY74" fmla="*/ 362133 h 1307921"/>
                    <a:gd name="connsiteX75" fmla="*/ 787400 w 787400"/>
                    <a:gd name="connsiteY75" fmla="*/ 394355 h 1307921"/>
                    <a:gd name="connsiteX76" fmla="*/ 773824 w 787400"/>
                    <a:gd name="connsiteY76" fmla="*/ 427292 h 1307921"/>
                    <a:gd name="connsiteX77" fmla="*/ 741224 w 787400"/>
                    <a:gd name="connsiteY77" fmla="*/ 441255 h 1307921"/>
                    <a:gd name="connsiteX78" fmla="*/ 392906 w 787400"/>
                    <a:gd name="connsiteY78" fmla="*/ 1307921 h 1307921"/>
                    <a:gd name="connsiteX79" fmla="*/ 346075 w 787400"/>
                    <a:gd name="connsiteY79" fmla="*/ 1261542 h 1307921"/>
                    <a:gd name="connsiteX80" fmla="*/ 346075 w 787400"/>
                    <a:gd name="connsiteY80" fmla="*/ 976133 h 1307921"/>
                    <a:gd name="connsiteX81" fmla="*/ 377776 w 787400"/>
                    <a:gd name="connsiteY81" fmla="*/ 979701 h 1307921"/>
                    <a:gd name="connsiteX82" fmla="*/ 377776 w 787400"/>
                    <a:gd name="connsiteY82" fmla="*/ 1261542 h 1307921"/>
                    <a:gd name="connsiteX83" fmla="*/ 392906 w 787400"/>
                    <a:gd name="connsiteY83" fmla="*/ 1276526 h 1307921"/>
                    <a:gd name="connsiteX84" fmla="*/ 408036 w 787400"/>
                    <a:gd name="connsiteY84" fmla="*/ 1261542 h 1307921"/>
                    <a:gd name="connsiteX85" fmla="*/ 408036 w 787400"/>
                    <a:gd name="connsiteY85" fmla="*/ 979701 h 1307921"/>
                    <a:gd name="connsiteX86" fmla="*/ 439737 w 787400"/>
                    <a:gd name="connsiteY86" fmla="*/ 976133 h 1307921"/>
                    <a:gd name="connsiteX87" fmla="*/ 439737 w 787400"/>
                    <a:gd name="connsiteY87" fmla="*/ 1261542 h 1307921"/>
                    <a:gd name="connsiteX88" fmla="*/ 392906 w 787400"/>
                    <a:gd name="connsiteY88" fmla="*/ 1307921 h 130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787400" h="1307921">
                      <a:moveTo>
                        <a:pt x="741224" y="441255"/>
                      </a:moveTo>
                      <a:cubicBezTo>
                        <a:pt x="729345" y="441255"/>
                        <a:pt x="717377" y="436601"/>
                        <a:pt x="708088" y="427292"/>
                      </a:cubicBezTo>
                      <a:cubicBezTo>
                        <a:pt x="708088" y="427292"/>
                        <a:pt x="708088" y="427292"/>
                        <a:pt x="440144" y="158780"/>
                      </a:cubicBezTo>
                      <a:cubicBezTo>
                        <a:pt x="440144" y="158780"/>
                        <a:pt x="440144" y="158780"/>
                        <a:pt x="440144" y="440897"/>
                      </a:cubicBezTo>
                      <a:cubicBezTo>
                        <a:pt x="430140" y="438749"/>
                        <a:pt x="419423" y="438033"/>
                        <a:pt x="408705" y="437317"/>
                      </a:cubicBezTo>
                      <a:cubicBezTo>
                        <a:pt x="408705" y="437317"/>
                        <a:pt x="408705" y="437317"/>
                        <a:pt x="408705" y="120831"/>
                      </a:cubicBezTo>
                      <a:cubicBezTo>
                        <a:pt x="408705" y="114386"/>
                        <a:pt x="412278" y="108658"/>
                        <a:pt x="418708" y="106510"/>
                      </a:cubicBezTo>
                      <a:cubicBezTo>
                        <a:pt x="424424" y="103646"/>
                        <a:pt x="430855" y="105078"/>
                        <a:pt x="435857" y="109374"/>
                      </a:cubicBezTo>
                      <a:cubicBezTo>
                        <a:pt x="435857" y="109374"/>
                        <a:pt x="435857" y="109374"/>
                        <a:pt x="730238" y="405095"/>
                      </a:cubicBezTo>
                      <a:cubicBezTo>
                        <a:pt x="736669" y="410824"/>
                        <a:pt x="745958" y="410824"/>
                        <a:pt x="751674" y="405095"/>
                      </a:cubicBezTo>
                      <a:cubicBezTo>
                        <a:pt x="754532" y="402231"/>
                        <a:pt x="755961" y="398651"/>
                        <a:pt x="755961" y="394355"/>
                      </a:cubicBezTo>
                      <a:cubicBezTo>
                        <a:pt x="755961" y="390775"/>
                        <a:pt x="754532" y="387195"/>
                        <a:pt x="751674" y="384330"/>
                      </a:cubicBezTo>
                      <a:cubicBezTo>
                        <a:pt x="751674" y="384330"/>
                        <a:pt x="751674" y="384330"/>
                        <a:pt x="404418" y="36339"/>
                      </a:cubicBezTo>
                      <a:cubicBezTo>
                        <a:pt x="403703" y="35623"/>
                        <a:pt x="403703" y="34907"/>
                        <a:pt x="402989" y="34907"/>
                      </a:cubicBezTo>
                      <a:cubicBezTo>
                        <a:pt x="402989" y="34907"/>
                        <a:pt x="402989" y="34907"/>
                        <a:pt x="399416" y="32759"/>
                      </a:cubicBezTo>
                      <a:cubicBezTo>
                        <a:pt x="399416" y="32759"/>
                        <a:pt x="399416" y="32759"/>
                        <a:pt x="395129" y="31327"/>
                      </a:cubicBezTo>
                      <a:cubicBezTo>
                        <a:pt x="394415" y="31327"/>
                        <a:pt x="392985" y="31327"/>
                        <a:pt x="392271" y="31327"/>
                      </a:cubicBezTo>
                      <a:cubicBezTo>
                        <a:pt x="392271" y="31327"/>
                        <a:pt x="392271" y="31327"/>
                        <a:pt x="386555" y="33475"/>
                      </a:cubicBezTo>
                      <a:cubicBezTo>
                        <a:pt x="386555" y="33475"/>
                        <a:pt x="386555" y="33475"/>
                        <a:pt x="384411" y="34907"/>
                      </a:cubicBezTo>
                      <a:cubicBezTo>
                        <a:pt x="383697" y="35623"/>
                        <a:pt x="383697" y="35623"/>
                        <a:pt x="382982" y="35623"/>
                      </a:cubicBezTo>
                      <a:cubicBezTo>
                        <a:pt x="382982" y="36339"/>
                        <a:pt x="382982" y="36339"/>
                        <a:pt x="382982" y="36339"/>
                      </a:cubicBezTo>
                      <a:cubicBezTo>
                        <a:pt x="382982" y="36339"/>
                        <a:pt x="382982" y="36339"/>
                        <a:pt x="35726" y="384330"/>
                      </a:cubicBezTo>
                      <a:cubicBezTo>
                        <a:pt x="32868" y="387195"/>
                        <a:pt x="31439" y="390775"/>
                        <a:pt x="31439" y="394355"/>
                      </a:cubicBezTo>
                      <a:cubicBezTo>
                        <a:pt x="31439" y="398651"/>
                        <a:pt x="32868" y="402231"/>
                        <a:pt x="35726" y="405095"/>
                      </a:cubicBezTo>
                      <a:cubicBezTo>
                        <a:pt x="41442" y="410824"/>
                        <a:pt x="50731" y="410824"/>
                        <a:pt x="57162" y="405095"/>
                      </a:cubicBezTo>
                      <a:cubicBezTo>
                        <a:pt x="57162" y="405095"/>
                        <a:pt x="57162" y="405095"/>
                        <a:pt x="351543" y="109374"/>
                      </a:cubicBezTo>
                      <a:cubicBezTo>
                        <a:pt x="355116" y="106510"/>
                        <a:pt x="358689" y="105078"/>
                        <a:pt x="362976" y="105078"/>
                      </a:cubicBezTo>
                      <a:cubicBezTo>
                        <a:pt x="365119" y="105078"/>
                        <a:pt x="367263" y="105794"/>
                        <a:pt x="368692" y="106510"/>
                      </a:cubicBezTo>
                      <a:cubicBezTo>
                        <a:pt x="375122" y="108658"/>
                        <a:pt x="378695" y="114386"/>
                        <a:pt x="378695" y="120831"/>
                      </a:cubicBezTo>
                      <a:cubicBezTo>
                        <a:pt x="378695" y="120831"/>
                        <a:pt x="378695" y="120831"/>
                        <a:pt x="378695" y="437317"/>
                      </a:cubicBezTo>
                      <a:cubicBezTo>
                        <a:pt x="367977" y="438033"/>
                        <a:pt x="357260" y="438749"/>
                        <a:pt x="347256" y="440897"/>
                      </a:cubicBezTo>
                      <a:cubicBezTo>
                        <a:pt x="347256" y="440897"/>
                        <a:pt x="347256" y="440897"/>
                        <a:pt x="347256" y="158780"/>
                      </a:cubicBezTo>
                      <a:cubicBezTo>
                        <a:pt x="347256" y="158780"/>
                        <a:pt x="347256" y="158780"/>
                        <a:pt x="79312" y="427292"/>
                      </a:cubicBezTo>
                      <a:cubicBezTo>
                        <a:pt x="60734" y="445909"/>
                        <a:pt x="31439" y="445909"/>
                        <a:pt x="13576" y="427292"/>
                      </a:cubicBezTo>
                      <a:cubicBezTo>
                        <a:pt x="5002" y="418700"/>
                        <a:pt x="0" y="407243"/>
                        <a:pt x="0" y="394355"/>
                      </a:cubicBezTo>
                      <a:cubicBezTo>
                        <a:pt x="0" y="382182"/>
                        <a:pt x="5002" y="370726"/>
                        <a:pt x="13576" y="362133"/>
                      </a:cubicBezTo>
                      <a:cubicBezTo>
                        <a:pt x="13576" y="362133"/>
                        <a:pt x="13576" y="362133"/>
                        <a:pt x="360832" y="13426"/>
                      </a:cubicBezTo>
                      <a:cubicBezTo>
                        <a:pt x="360832" y="13426"/>
                        <a:pt x="360832" y="13426"/>
                        <a:pt x="361547" y="13426"/>
                      </a:cubicBezTo>
                      <a:cubicBezTo>
                        <a:pt x="362261" y="11994"/>
                        <a:pt x="362976" y="11278"/>
                        <a:pt x="364405" y="10562"/>
                      </a:cubicBezTo>
                      <a:cubicBezTo>
                        <a:pt x="364405" y="10562"/>
                        <a:pt x="365119" y="9846"/>
                        <a:pt x="365834" y="9130"/>
                      </a:cubicBezTo>
                      <a:cubicBezTo>
                        <a:pt x="366548" y="8414"/>
                        <a:pt x="367263" y="8414"/>
                        <a:pt x="367977" y="7697"/>
                      </a:cubicBezTo>
                      <a:cubicBezTo>
                        <a:pt x="368692" y="7697"/>
                        <a:pt x="369406" y="6981"/>
                        <a:pt x="369406" y="6981"/>
                      </a:cubicBezTo>
                      <a:cubicBezTo>
                        <a:pt x="369406" y="6981"/>
                        <a:pt x="369406" y="6981"/>
                        <a:pt x="370121" y="6265"/>
                      </a:cubicBezTo>
                      <a:cubicBezTo>
                        <a:pt x="370835" y="6265"/>
                        <a:pt x="371550" y="5549"/>
                        <a:pt x="371550" y="5549"/>
                      </a:cubicBezTo>
                      <a:cubicBezTo>
                        <a:pt x="372264" y="5549"/>
                        <a:pt x="372979" y="4833"/>
                        <a:pt x="373693" y="4833"/>
                      </a:cubicBezTo>
                      <a:cubicBezTo>
                        <a:pt x="373693" y="4833"/>
                        <a:pt x="373693" y="4833"/>
                        <a:pt x="374408" y="4117"/>
                      </a:cubicBezTo>
                      <a:cubicBezTo>
                        <a:pt x="374408" y="4117"/>
                        <a:pt x="375122" y="4117"/>
                        <a:pt x="375837" y="3401"/>
                      </a:cubicBezTo>
                      <a:cubicBezTo>
                        <a:pt x="376552" y="3401"/>
                        <a:pt x="377266" y="3401"/>
                        <a:pt x="377981" y="2685"/>
                      </a:cubicBezTo>
                      <a:cubicBezTo>
                        <a:pt x="378695" y="2685"/>
                        <a:pt x="379410" y="1969"/>
                        <a:pt x="380124" y="1969"/>
                      </a:cubicBezTo>
                      <a:cubicBezTo>
                        <a:pt x="380839" y="1969"/>
                        <a:pt x="381553" y="1969"/>
                        <a:pt x="382268" y="1253"/>
                      </a:cubicBezTo>
                      <a:cubicBezTo>
                        <a:pt x="382982" y="1253"/>
                        <a:pt x="383697" y="1253"/>
                        <a:pt x="384411" y="1253"/>
                      </a:cubicBezTo>
                      <a:cubicBezTo>
                        <a:pt x="385126" y="537"/>
                        <a:pt x="385840" y="537"/>
                        <a:pt x="386555" y="537"/>
                      </a:cubicBezTo>
                      <a:cubicBezTo>
                        <a:pt x="386555" y="537"/>
                        <a:pt x="386555" y="537"/>
                        <a:pt x="387269" y="537"/>
                      </a:cubicBezTo>
                      <a:cubicBezTo>
                        <a:pt x="387984" y="537"/>
                        <a:pt x="388698" y="537"/>
                        <a:pt x="389413" y="537"/>
                      </a:cubicBezTo>
                      <a:cubicBezTo>
                        <a:pt x="392271" y="-179"/>
                        <a:pt x="395129" y="-179"/>
                        <a:pt x="397987" y="537"/>
                      </a:cubicBezTo>
                      <a:cubicBezTo>
                        <a:pt x="398702" y="537"/>
                        <a:pt x="399416" y="537"/>
                        <a:pt x="400131" y="537"/>
                      </a:cubicBezTo>
                      <a:cubicBezTo>
                        <a:pt x="400131" y="537"/>
                        <a:pt x="400131" y="537"/>
                        <a:pt x="400845" y="537"/>
                      </a:cubicBezTo>
                      <a:cubicBezTo>
                        <a:pt x="401560" y="537"/>
                        <a:pt x="402274" y="537"/>
                        <a:pt x="402989" y="1253"/>
                      </a:cubicBezTo>
                      <a:cubicBezTo>
                        <a:pt x="403703" y="1253"/>
                        <a:pt x="404418" y="1253"/>
                        <a:pt x="404418" y="1253"/>
                      </a:cubicBezTo>
                      <a:cubicBezTo>
                        <a:pt x="404418" y="1253"/>
                        <a:pt x="404418" y="1253"/>
                        <a:pt x="405132" y="1253"/>
                      </a:cubicBezTo>
                      <a:cubicBezTo>
                        <a:pt x="405847" y="1969"/>
                        <a:pt x="406561" y="1969"/>
                        <a:pt x="407276" y="1969"/>
                      </a:cubicBezTo>
                      <a:cubicBezTo>
                        <a:pt x="407990" y="1969"/>
                        <a:pt x="408705" y="2685"/>
                        <a:pt x="409419" y="2685"/>
                      </a:cubicBezTo>
                      <a:cubicBezTo>
                        <a:pt x="410134" y="3401"/>
                        <a:pt x="410848" y="3401"/>
                        <a:pt x="411563" y="3401"/>
                      </a:cubicBezTo>
                      <a:cubicBezTo>
                        <a:pt x="412278" y="4117"/>
                        <a:pt x="412278" y="4117"/>
                        <a:pt x="412992" y="4117"/>
                      </a:cubicBezTo>
                      <a:cubicBezTo>
                        <a:pt x="412992" y="4117"/>
                        <a:pt x="413707" y="4833"/>
                        <a:pt x="413707" y="4833"/>
                      </a:cubicBezTo>
                      <a:cubicBezTo>
                        <a:pt x="414421" y="4833"/>
                        <a:pt x="415136" y="5549"/>
                        <a:pt x="415850" y="5549"/>
                      </a:cubicBezTo>
                      <a:cubicBezTo>
                        <a:pt x="415850" y="5549"/>
                        <a:pt x="416565" y="6265"/>
                        <a:pt x="417279" y="6265"/>
                      </a:cubicBezTo>
                      <a:cubicBezTo>
                        <a:pt x="417279" y="6265"/>
                        <a:pt x="417279" y="6265"/>
                        <a:pt x="417279" y="6981"/>
                      </a:cubicBezTo>
                      <a:cubicBezTo>
                        <a:pt x="417994" y="6981"/>
                        <a:pt x="418708" y="7697"/>
                        <a:pt x="419423" y="7697"/>
                      </a:cubicBezTo>
                      <a:cubicBezTo>
                        <a:pt x="420137" y="8414"/>
                        <a:pt x="420852" y="8414"/>
                        <a:pt x="420852" y="9130"/>
                      </a:cubicBezTo>
                      <a:cubicBezTo>
                        <a:pt x="420852" y="9130"/>
                        <a:pt x="420852" y="9130"/>
                        <a:pt x="421566" y="9130"/>
                      </a:cubicBezTo>
                      <a:cubicBezTo>
                        <a:pt x="422281" y="9846"/>
                        <a:pt x="422995" y="10562"/>
                        <a:pt x="422995" y="10562"/>
                      </a:cubicBezTo>
                      <a:cubicBezTo>
                        <a:pt x="424424" y="11278"/>
                        <a:pt x="425139" y="11994"/>
                        <a:pt x="425853" y="13426"/>
                      </a:cubicBezTo>
                      <a:cubicBezTo>
                        <a:pt x="426568" y="13426"/>
                        <a:pt x="426568" y="13426"/>
                        <a:pt x="426568" y="13426"/>
                      </a:cubicBezTo>
                      <a:cubicBezTo>
                        <a:pt x="426568" y="13426"/>
                        <a:pt x="426568" y="13426"/>
                        <a:pt x="773824" y="362133"/>
                      </a:cubicBezTo>
                      <a:cubicBezTo>
                        <a:pt x="782398" y="370726"/>
                        <a:pt x="787400" y="382182"/>
                        <a:pt x="787400" y="394355"/>
                      </a:cubicBezTo>
                      <a:cubicBezTo>
                        <a:pt x="787400" y="407243"/>
                        <a:pt x="782398" y="418700"/>
                        <a:pt x="773824" y="427292"/>
                      </a:cubicBezTo>
                      <a:cubicBezTo>
                        <a:pt x="764892" y="436601"/>
                        <a:pt x="753103" y="441255"/>
                        <a:pt x="741224" y="441255"/>
                      </a:cubicBezTo>
                      <a:close/>
                      <a:moveTo>
                        <a:pt x="392906" y="1307921"/>
                      </a:moveTo>
                      <a:cubicBezTo>
                        <a:pt x="366969" y="1307921"/>
                        <a:pt x="346075" y="1287229"/>
                        <a:pt x="346075" y="1261542"/>
                      </a:cubicBezTo>
                      <a:cubicBezTo>
                        <a:pt x="346075" y="1261542"/>
                        <a:pt x="346075" y="1261542"/>
                        <a:pt x="346075" y="976133"/>
                      </a:cubicBezTo>
                      <a:cubicBezTo>
                        <a:pt x="356162" y="977560"/>
                        <a:pt x="366969" y="978987"/>
                        <a:pt x="377776" y="979701"/>
                      </a:cubicBezTo>
                      <a:cubicBezTo>
                        <a:pt x="377776" y="979701"/>
                        <a:pt x="377776" y="979701"/>
                        <a:pt x="377776" y="1261542"/>
                      </a:cubicBezTo>
                      <a:cubicBezTo>
                        <a:pt x="377776" y="1269391"/>
                        <a:pt x="384260" y="1276526"/>
                        <a:pt x="392906" y="1276526"/>
                      </a:cubicBezTo>
                      <a:cubicBezTo>
                        <a:pt x="401552" y="1276526"/>
                        <a:pt x="408036" y="1269391"/>
                        <a:pt x="408036" y="1261542"/>
                      </a:cubicBezTo>
                      <a:lnTo>
                        <a:pt x="408036" y="979701"/>
                      </a:lnTo>
                      <a:cubicBezTo>
                        <a:pt x="418843" y="978987"/>
                        <a:pt x="429650" y="977560"/>
                        <a:pt x="439737" y="976133"/>
                      </a:cubicBezTo>
                      <a:cubicBezTo>
                        <a:pt x="439737" y="976133"/>
                        <a:pt x="439737" y="976133"/>
                        <a:pt x="439737" y="1261542"/>
                      </a:cubicBezTo>
                      <a:cubicBezTo>
                        <a:pt x="439737" y="1287229"/>
                        <a:pt x="418843" y="1307921"/>
                        <a:pt x="392906" y="13079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0" name="Freeform 96">
                  <a:extLst>
                    <a:ext uri="{FF2B5EF4-FFF2-40B4-BE49-F238E27FC236}">
                      <a16:creationId xmlns:a16="http://schemas.microsoft.com/office/drawing/2014/main" id="{7FC53F16-D9A2-4D28-8221-7604C6A04B2F}"/>
                    </a:ext>
                  </a:extLst>
                </p:cNvPr>
                <p:cNvSpPr>
                  <a:spLocks noEditPoints="1"/>
                </p:cNvSpPr>
                <p:nvPr/>
              </p:nvSpPr>
              <p:spPr bwMode="auto">
                <a:xfrm>
                  <a:off x="8846080" y="2794000"/>
                  <a:ext cx="481012" cy="481013"/>
                </a:xfrm>
                <a:custGeom>
                  <a:avLst/>
                  <a:gdLst>
                    <a:gd name="T0" fmla="*/ 401 w 672"/>
                    <a:gd name="T1" fmla="*/ 7 h 672"/>
                    <a:gd name="T2" fmla="*/ 357 w 672"/>
                    <a:gd name="T3" fmla="*/ 1 h 672"/>
                    <a:gd name="T4" fmla="*/ 336 w 672"/>
                    <a:gd name="T5" fmla="*/ 0 h 672"/>
                    <a:gd name="T6" fmla="*/ 315 w 672"/>
                    <a:gd name="T7" fmla="*/ 1 h 672"/>
                    <a:gd name="T8" fmla="*/ 271 w 672"/>
                    <a:gd name="T9" fmla="*/ 7 h 672"/>
                    <a:gd name="T10" fmla="*/ 0 w 672"/>
                    <a:gd name="T11" fmla="*/ 336 h 672"/>
                    <a:gd name="T12" fmla="*/ 271 w 672"/>
                    <a:gd name="T13" fmla="*/ 666 h 672"/>
                    <a:gd name="T14" fmla="*/ 315 w 672"/>
                    <a:gd name="T15" fmla="*/ 671 h 672"/>
                    <a:gd name="T16" fmla="*/ 336 w 672"/>
                    <a:gd name="T17" fmla="*/ 672 h 672"/>
                    <a:gd name="T18" fmla="*/ 357 w 672"/>
                    <a:gd name="T19" fmla="*/ 671 h 672"/>
                    <a:gd name="T20" fmla="*/ 401 w 672"/>
                    <a:gd name="T21" fmla="*/ 666 h 672"/>
                    <a:gd name="T22" fmla="*/ 672 w 672"/>
                    <a:gd name="T23" fmla="*/ 336 h 672"/>
                    <a:gd name="T24" fmla="*/ 401 w 672"/>
                    <a:gd name="T25" fmla="*/ 7 h 672"/>
                    <a:gd name="T26" fmla="*/ 427 w 672"/>
                    <a:gd name="T27" fmla="*/ 483 h 672"/>
                    <a:gd name="T28" fmla="*/ 401 w 672"/>
                    <a:gd name="T29" fmla="*/ 505 h 672"/>
                    <a:gd name="T30" fmla="*/ 363 w 672"/>
                    <a:gd name="T31" fmla="*/ 520 h 672"/>
                    <a:gd name="T32" fmla="*/ 363 w 672"/>
                    <a:gd name="T33" fmla="*/ 579 h 672"/>
                    <a:gd name="T34" fmla="*/ 357 w 672"/>
                    <a:gd name="T35" fmla="*/ 579 h 672"/>
                    <a:gd name="T36" fmla="*/ 315 w 672"/>
                    <a:gd name="T37" fmla="*/ 579 h 672"/>
                    <a:gd name="T38" fmla="*/ 304 w 672"/>
                    <a:gd name="T39" fmla="*/ 579 h 672"/>
                    <a:gd name="T40" fmla="*/ 304 w 672"/>
                    <a:gd name="T41" fmla="*/ 525 h 672"/>
                    <a:gd name="T42" fmla="*/ 271 w 672"/>
                    <a:gd name="T43" fmla="*/ 519 h 672"/>
                    <a:gd name="T44" fmla="*/ 222 w 672"/>
                    <a:gd name="T45" fmla="*/ 498 h 672"/>
                    <a:gd name="T46" fmla="*/ 247 w 672"/>
                    <a:gd name="T47" fmla="*/ 438 h 672"/>
                    <a:gd name="T48" fmla="*/ 271 w 672"/>
                    <a:gd name="T49" fmla="*/ 453 h 672"/>
                    <a:gd name="T50" fmla="*/ 315 w 672"/>
                    <a:gd name="T51" fmla="*/ 465 h 672"/>
                    <a:gd name="T52" fmla="*/ 325 w 672"/>
                    <a:gd name="T53" fmla="*/ 466 h 672"/>
                    <a:gd name="T54" fmla="*/ 357 w 672"/>
                    <a:gd name="T55" fmla="*/ 461 h 672"/>
                    <a:gd name="T56" fmla="*/ 383 w 672"/>
                    <a:gd name="T57" fmla="*/ 425 h 672"/>
                    <a:gd name="T58" fmla="*/ 368 w 672"/>
                    <a:gd name="T59" fmla="*/ 387 h 672"/>
                    <a:gd name="T60" fmla="*/ 357 w 672"/>
                    <a:gd name="T61" fmla="*/ 376 h 672"/>
                    <a:gd name="T62" fmla="*/ 315 w 672"/>
                    <a:gd name="T63" fmla="*/ 350 h 672"/>
                    <a:gd name="T64" fmla="*/ 311 w 672"/>
                    <a:gd name="T65" fmla="*/ 348 h 672"/>
                    <a:gd name="T66" fmla="*/ 271 w 672"/>
                    <a:gd name="T67" fmla="*/ 326 h 672"/>
                    <a:gd name="T68" fmla="*/ 254 w 672"/>
                    <a:gd name="T69" fmla="*/ 313 h 672"/>
                    <a:gd name="T70" fmla="*/ 231 w 672"/>
                    <a:gd name="T71" fmla="*/ 280 h 672"/>
                    <a:gd name="T72" fmla="*/ 223 w 672"/>
                    <a:gd name="T73" fmla="*/ 237 h 672"/>
                    <a:gd name="T74" fmla="*/ 245 w 672"/>
                    <a:gd name="T75" fmla="*/ 175 h 672"/>
                    <a:gd name="T76" fmla="*/ 271 w 672"/>
                    <a:gd name="T77" fmla="*/ 153 h 672"/>
                    <a:gd name="T78" fmla="*/ 304 w 672"/>
                    <a:gd name="T79" fmla="*/ 140 h 672"/>
                    <a:gd name="T80" fmla="*/ 304 w 672"/>
                    <a:gd name="T81" fmla="*/ 93 h 672"/>
                    <a:gd name="T82" fmla="*/ 315 w 672"/>
                    <a:gd name="T83" fmla="*/ 93 h 672"/>
                    <a:gd name="T84" fmla="*/ 357 w 672"/>
                    <a:gd name="T85" fmla="*/ 93 h 672"/>
                    <a:gd name="T86" fmla="*/ 363 w 672"/>
                    <a:gd name="T87" fmla="*/ 93 h 672"/>
                    <a:gd name="T88" fmla="*/ 362 w 672"/>
                    <a:gd name="T89" fmla="*/ 137 h 672"/>
                    <a:gd name="T90" fmla="*/ 401 w 672"/>
                    <a:gd name="T91" fmla="*/ 144 h 672"/>
                    <a:gd name="T92" fmla="*/ 433 w 672"/>
                    <a:gd name="T93" fmla="*/ 160 h 672"/>
                    <a:gd name="T94" fmla="*/ 412 w 672"/>
                    <a:gd name="T95" fmla="*/ 218 h 672"/>
                    <a:gd name="T96" fmla="*/ 401 w 672"/>
                    <a:gd name="T97" fmla="*/ 210 h 672"/>
                    <a:gd name="T98" fmla="*/ 357 w 672"/>
                    <a:gd name="T99" fmla="*/ 194 h 672"/>
                    <a:gd name="T100" fmla="*/ 338 w 672"/>
                    <a:gd name="T101" fmla="*/ 193 h 672"/>
                    <a:gd name="T102" fmla="*/ 315 w 672"/>
                    <a:gd name="T103" fmla="*/ 197 h 672"/>
                    <a:gd name="T104" fmla="*/ 302 w 672"/>
                    <a:gd name="T105" fmla="*/ 205 h 672"/>
                    <a:gd name="T106" fmla="*/ 290 w 672"/>
                    <a:gd name="T107" fmla="*/ 237 h 672"/>
                    <a:gd name="T108" fmla="*/ 315 w 672"/>
                    <a:gd name="T109" fmla="*/ 276 h 672"/>
                    <a:gd name="T110" fmla="*/ 357 w 672"/>
                    <a:gd name="T111" fmla="*/ 302 h 672"/>
                    <a:gd name="T112" fmla="*/ 361 w 672"/>
                    <a:gd name="T113" fmla="*/ 304 h 672"/>
                    <a:gd name="T114" fmla="*/ 401 w 672"/>
                    <a:gd name="T115" fmla="*/ 326 h 672"/>
                    <a:gd name="T116" fmla="*/ 416 w 672"/>
                    <a:gd name="T117" fmla="*/ 338 h 672"/>
                    <a:gd name="T118" fmla="*/ 441 w 672"/>
                    <a:gd name="T119" fmla="*/ 374 h 672"/>
                    <a:gd name="T120" fmla="*/ 450 w 672"/>
                    <a:gd name="T121" fmla="*/ 420 h 672"/>
                    <a:gd name="T122" fmla="*/ 427 w 672"/>
                    <a:gd name="T123" fmla="*/ 483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2" h="672">
                      <a:moveTo>
                        <a:pt x="401" y="7"/>
                      </a:moveTo>
                      <a:cubicBezTo>
                        <a:pt x="387" y="4"/>
                        <a:pt x="372" y="2"/>
                        <a:pt x="357" y="1"/>
                      </a:cubicBezTo>
                      <a:cubicBezTo>
                        <a:pt x="350" y="0"/>
                        <a:pt x="343" y="0"/>
                        <a:pt x="336" y="0"/>
                      </a:cubicBezTo>
                      <a:cubicBezTo>
                        <a:pt x="329" y="0"/>
                        <a:pt x="322" y="0"/>
                        <a:pt x="315" y="1"/>
                      </a:cubicBezTo>
                      <a:cubicBezTo>
                        <a:pt x="300" y="2"/>
                        <a:pt x="285" y="4"/>
                        <a:pt x="271" y="7"/>
                      </a:cubicBezTo>
                      <a:cubicBezTo>
                        <a:pt x="117" y="37"/>
                        <a:pt x="0" y="173"/>
                        <a:pt x="0" y="336"/>
                      </a:cubicBezTo>
                      <a:cubicBezTo>
                        <a:pt x="0" y="499"/>
                        <a:pt x="117" y="635"/>
                        <a:pt x="271" y="666"/>
                      </a:cubicBezTo>
                      <a:cubicBezTo>
                        <a:pt x="285" y="669"/>
                        <a:pt x="300" y="671"/>
                        <a:pt x="315" y="671"/>
                      </a:cubicBezTo>
                      <a:cubicBezTo>
                        <a:pt x="322" y="672"/>
                        <a:pt x="329" y="672"/>
                        <a:pt x="336" y="672"/>
                      </a:cubicBezTo>
                      <a:cubicBezTo>
                        <a:pt x="343" y="672"/>
                        <a:pt x="350" y="672"/>
                        <a:pt x="357" y="671"/>
                      </a:cubicBezTo>
                      <a:cubicBezTo>
                        <a:pt x="372" y="671"/>
                        <a:pt x="387" y="669"/>
                        <a:pt x="401" y="666"/>
                      </a:cubicBezTo>
                      <a:cubicBezTo>
                        <a:pt x="555" y="635"/>
                        <a:pt x="672" y="499"/>
                        <a:pt x="672" y="336"/>
                      </a:cubicBezTo>
                      <a:cubicBezTo>
                        <a:pt x="672" y="173"/>
                        <a:pt x="555" y="37"/>
                        <a:pt x="401" y="7"/>
                      </a:cubicBezTo>
                      <a:close/>
                      <a:moveTo>
                        <a:pt x="427" y="483"/>
                      </a:moveTo>
                      <a:cubicBezTo>
                        <a:pt x="420" y="492"/>
                        <a:pt x="411" y="499"/>
                        <a:pt x="401" y="505"/>
                      </a:cubicBezTo>
                      <a:cubicBezTo>
                        <a:pt x="390" y="511"/>
                        <a:pt x="377" y="517"/>
                        <a:pt x="363" y="520"/>
                      </a:cubicBezTo>
                      <a:cubicBezTo>
                        <a:pt x="363" y="579"/>
                        <a:pt x="363" y="579"/>
                        <a:pt x="363" y="579"/>
                      </a:cubicBezTo>
                      <a:cubicBezTo>
                        <a:pt x="357" y="579"/>
                        <a:pt x="357" y="579"/>
                        <a:pt x="357" y="579"/>
                      </a:cubicBezTo>
                      <a:cubicBezTo>
                        <a:pt x="315" y="579"/>
                        <a:pt x="315" y="579"/>
                        <a:pt x="315" y="579"/>
                      </a:cubicBezTo>
                      <a:cubicBezTo>
                        <a:pt x="304" y="579"/>
                        <a:pt x="304" y="579"/>
                        <a:pt x="304" y="579"/>
                      </a:cubicBezTo>
                      <a:cubicBezTo>
                        <a:pt x="304" y="525"/>
                        <a:pt x="304" y="525"/>
                        <a:pt x="304" y="525"/>
                      </a:cubicBezTo>
                      <a:cubicBezTo>
                        <a:pt x="292" y="524"/>
                        <a:pt x="282" y="522"/>
                        <a:pt x="271" y="519"/>
                      </a:cubicBezTo>
                      <a:cubicBezTo>
                        <a:pt x="254" y="515"/>
                        <a:pt x="237" y="508"/>
                        <a:pt x="222" y="498"/>
                      </a:cubicBezTo>
                      <a:cubicBezTo>
                        <a:pt x="247" y="438"/>
                        <a:pt x="247" y="438"/>
                        <a:pt x="247" y="438"/>
                      </a:cubicBezTo>
                      <a:cubicBezTo>
                        <a:pt x="255" y="444"/>
                        <a:pt x="263" y="449"/>
                        <a:pt x="271" y="453"/>
                      </a:cubicBezTo>
                      <a:cubicBezTo>
                        <a:pt x="286" y="460"/>
                        <a:pt x="301" y="464"/>
                        <a:pt x="315" y="465"/>
                      </a:cubicBezTo>
                      <a:cubicBezTo>
                        <a:pt x="318" y="466"/>
                        <a:pt x="321" y="466"/>
                        <a:pt x="325" y="466"/>
                      </a:cubicBezTo>
                      <a:cubicBezTo>
                        <a:pt x="338" y="466"/>
                        <a:pt x="348" y="464"/>
                        <a:pt x="357" y="461"/>
                      </a:cubicBezTo>
                      <a:cubicBezTo>
                        <a:pt x="375" y="455"/>
                        <a:pt x="383" y="443"/>
                        <a:pt x="383" y="425"/>
                      </a:cubicBezTo>
                      <a:cubicBezTo>
                        <a:pt x="383" y="412"/>
                        <a:pt x="378" y="399"/>
                        <a:pt x="368" y="387"/>
                      </a:cubicBezTo>
                      <a:cubicBezTo>
                        <a:pt x="365" y="384"/>
                        <a:pt x="362" y="380"/>
                        <a:pt x="357" y="376"/>
                      </a:cubicBezTo>
                      <a:cubicBezTo>
                        <a:pt x="347" y="368"/>
                        <a:pt x="333" y="359"/>
                        <a:pt x="315" y="350"/>
                      </a:cubicBezTo>
                      <a:cubicBezTo>
                        <a:pt x="314" y="349"/>
                        <a:pt x="313" y="349"/>
                        <a:pt x="311" y="348"/>
                      </a:cubicBezTo>
                      <a:cubicBezTo>
                        <a:pt x="295" y="340"/>
                        <a:pt x="281" y="332"/>
                        <a:pt x="271" y="326"/>
                      </a:cubicBezTo>
                      <a:cubicBezTo>
                        <a:pt x="264" y="321"/>
                        <a:pt x="258" y="317"/>
                        <a:pt x="254" y="313"/>
                      </a:cubicBezTo>
                      <a:cubicBezTo>
                        <a:pt x="244" y="304"/>
                        <a:pt x="236" y="293"/>
                        <a:pt x="231" y="280"/>
                      </a:cubicBezTo>
                      <a:cubicBezTo>
                        <a:pt x="225" y="267"/>
                        <a:pt x="223" y="253"/>
                        <a:pt x="223" y="237"/>
                      </a:cubicBezTo>
                      <a:cubicBezTo>
                        <a:pt x="223" y="214"/>
                        <a:pt x="230" y="193"/>
                        <a:pt x="245" y="175"/>
                      </a:cubicBezTo>
                      <a:cubicBezTo>
                        <a:pt x="252" y="166"/>
                        <a:pt x="261" y="159"/>
                        <a:pt x="271" y="153"/>
                      </a:cubicBezTo>
                      <a:cubicBezTo>
                        <a:pt x="281" y="147"/>
                        <a:pt x="292" y="143"/>
                        <a:pt x="304" y="140"/>
                      </a:cubicBezTo>
                      <a:cubicBezTo>
                        <a:pt x="304" y="93"/>
                        <a:pt x="304" y="93"/>
                        <a:pt x="304" y="93"/>
                      </a:cubicBezTo>
                      <a:cubicBezTo>
                        <a:pt x="315" y="93"/>
                        <a:pt x="315" y="93"/>
                        <a:pt x="315" y="93"/>
                      </a:cubicBezTo>
                      <a:cubicBezTo>
                        <a:pt x="357" y="93"/>
                        <a:pt x="357" y="93"/>
                        <a:pt x="357" y="93"/>
                      </a:cubicBezTo>
                      <a:cubicBezTo>
                        <a:pt x="363" y="93"/>
                        <a:pt x="363" y="93"/>
                        <a:pt x="363" y="93"/>
                      </a:cubicBezTo>
                      <a:cubicBezTo>
                        <a:pt x="362" y="137"/>
                        <a:pt x="362" y="137"/>
                        <a:pt x="362" y="137"/>
                      </a:cubicBezTo>
                      <a:cubicBezTo>
                        <a:pt x="377" y="139"/>
                        <a:pt x="390" y="141"/>
                        <a:pt x="401" y="144"/>
                      </a:cubicBezTo>
                      <a:cubicBezTo>
                        <a:pt x="414" y="148"/>
                        <a:pt x="425" y="154"/>
                        <a:pt x="433" y="160"/>
                      </a:cubicBezTo>
                      <a:cubicBezTo>
                        <a:pt x="412" y="218"/>
                        <a:pt x="412" y="218"/>
                        <a:pt x="412" y="218"/>
                      </a:cubicBezTo>
                      <a:cubicBezTo>
                        <a:pt x="409" y="215"/>
                        <a:pt x="405" y="213"/>
                        <a:pt x="401" y="210"/>
                      </a:cubicBezTo>
                      <a:cubicBezTo>
                        <a:pt x="387" y="202"/>
                        <a:pt x="372" y="197"/>
                        <a:pt x="357" y="194"/>
                      </a:cubicBezTo>
                      <a:cubicBezTo>
                        <a:pt x="351" y="193"/>
                        <a:pt x="345" y="193"/>
                        <a:pt x="338" y="193"/>
                      </a:cubicBezTo>
                      <a:cubicBezTo>
                        <a:pt x="329" y="193"/>
                        <a:pt x="322" y="194"/>
                        <a:pt x="315" y="197"/>
                      </a:cubicBezTo>
                      <a:cubicBezTo>
                        <a:pt x="310" y="199"/>
                        <a:pt x="306" y="202"/>
                        <a:pt x="302" y="205"/>
                      </a:cubicBezTo>
                      <a:cubicBezTo>
                        <a:pt x="294" y="213"/>
                        <a:pt x="290" y="224"/>
                        <a:pt x="290" y="237"/>
                      </a:cubicBezTo>
                      <a:cubicBezTo>
                        <a:pt x="290" y="249"/>
                        <a:pt x="298" y="263"/>
                        <a:pt x="315" y="276"/>
                      </a:cubicBezTo>
                      <a:cubicBezTo>
                        <a:pt x="326" y="284"/>
                        <a:pt x="340" y="293"/>
                        <a:pt x="357" y="302"/>
                      </a:cubicBezTo>
                      <a:cubicBezTo>
                        <a:pt x="358" y="302"/>
                        <a:pt x="360" y="303"/>
                        <a:pt x="361" y="304"/>
                      </a:cubicBezTo>
                      <a:cubicBezTo>
                        <a:pt x="377" y="312"/>
                        <a:pt x="391" y="319"/>
                        <a:pt x="401" y="326"/>
                      </a:cubicBezTo>
                      <a:cubicBezTo>
                        <a:pt x="407" y="330"/>
                        <a:pt x="412" y="334"/>
                        <a:pt x="416" y="338"/>
                      </a:cubicBezTo>
                      <a:cubicBezTo>
                        <a:pt x="427" y="348"/>
                        <a:pt x="435" y="360"/>
                        <a:pt x="441" y="374"/>
                      </a:cubicBezTo>
                      <a:cubicBezTo>
                        <a:pt x="447" y="388"/>
                        <a:pt x="450" y="403"/>
                        <a:pt x="450" y="420"/>
                      </a:cubicBezTo>
                      <a:cubicBezTo>
                        <a:pt x="450" y="444"/>
                        <a:pt x="442" y="465"/>
                        <a:pt x="427" y="48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3077061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6EF5EF-5BFA-49C0-A36F-3059195094BD}"/>
              </a:ext>
            </a:extLst>
          </p:cNvPr>
          <p:cNvGraphicFramePr>
            <a:graphicFrameLocks noChangeAspect="1"/>
          </p:cNvGraphicFramePr>
          <p:nvPr>
            <p:custDataLst>
              <p:tags r:id="rId1"/>
            </p:custDataLst>
            <p:extLst>
              <p:ext uri="{D42A27DB-BD31-4B8C-83A1-F6EECF244321}">
                <p14:modId xmlns:p14="http://schemas.microsoft.com/office/powerpoint/2010/main" val="407448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0" imgH="469" progId="TCLayout.ActiveDocument.1">
                  <p:embed/>
                </p:oleObj>
              </mc:Choice>
              <mc:Fallback>
                <p:oleObj name="think-cell Slide" r:id="rId7" imgW="470" imgH="469" progId="TCLayout.ActiveDocument.1">
                  <p:embed/>
                  <p:pic>
                    <p:nvPicPr>
                      <p:cNvPr id="4" name="Object 3" hidden="1">
                        <a:extLst>
                          <a:ext uri="{FF2B5EF4-FFF2-40B4-BE49-F238E27FC236}">
                            <a16:creationId xmlns:a16="http://schemas.microsoft.com/office/drawing/2014/main" id="{996EF5EF-5BFA-49C0-A36F-3059195094B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4C625737-2780-49C6-A04D-A307F8125D62}"/>
              </a:ext>
            </a:extLst>
          </p:cNvPr>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a:extLst>
              <a:ext uri="{FF2B5EF4-FFF2-40B4-BE49-F238E27FC236}">
                <a16:creationId xmlns:a16="http://schemas.microsoft.com/office/drawing/2014/main" id="{AEAE0B02-5636-43BA-AED9-D67DB9C22A9E}"/>
              </a:ext>
            </a:extLst>
          </p:cNvPr>
          <p:cNvSpPr>
            <a:spLocks noGrp="1"/>
          </p:cNvSpPr>
          <p:nvPr>
            <p:ph type="title"/>
          </p:nvPr>
        </p:nvSpPr>
        <p:spPr>
          <a:xfrm>
            <a:off x="990770" y="1210309"/>
            <a:ext cx="2490328" cy="973681"/>
          </a:xfrm>
        </p:spPr>
        <p:txBody>
          <a:bodyPr vert="horz" wrap="square" anchor="t">
            <a:noAutofit/>
          </a:bodyPr>
          <a:lstStyle/>
          <a:p>
            <a:r>
              <a:rPr lang="en-US" sz="3200" dirty="0"/>
              <a:t>Business Objectives</a:t>
            </a:r>
            <a:endParaRPr lang="en-US" sz="3200" dirty="0">
              <a:sym typeface="+mj-lt"/>
            </a:endParaRPr>
          </a:p>
        </p:txBody>
      </p:sp>
      <p:sp>
        <p:nvSpPr>
          <p:cNvPr id="6" name="Rectangle 5">
            <a:extLst>
              <a:ext uri="{FF2B5EF4-FFF2-40B4-BE49-F238E27FC236}">
                <a16:creationId xmlns:a16="http://schemas.microsoft.com/office/drawing/2014/main" id="{9913B22B-BDE9-4F9E-834F-F78727E36D8B}"/>
              </a:ext>
            </a:extLst>
          </p:cNvPr>
          <p:cNvSpPr/>
          <p:nvPr/>
        </p:nvSpPr>
        <p:spPr>
          <a:xfrm flipH="1">
            <a:off x="3909059" y="1233771"/>
            <a:ext cx="182880" cy="822960"/>
          </a:xfrm>
          <a:prstGeom prst="rect">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36" name="Rectangle 35">
            <a:extLst>
              <a:ext uri="{FF2B5EF4-FFF2-40B4-BE49-F238E27FC236}">
                <a16:creationId xmlns:a16="http://schemas.microsoft.com/office/drawing/2014/main" id="{CD46474D-F15A-4D1B-9E44-C265DCCB06B4}"/>
              </a:ext>
            </a:extLst>
          </p:cNvPr>
          <p:cNvSpPr/>
          <p:nvPr>
            <p:custDataLst>
              <p:tags r:id="rId3"/>
            </p:custDataLst>
          </p:nvPr>
        </p:nvSpPr>
        <p:spPr>
          <a:xfrm>
            <a:off x="6274871" y="1495080"/>
            <a:ext cx="5192591" cy="553998"/>
          </a:xfrm>
          <a:prstGeom prst="rect">
            <a:avLst/>
          </a:prstGeom>
          <a:noFill/>
          <a:ln w="9525">
            <a:noFill/>
            <a:prstDash val="solid"/>
          </a:ln>
          <a:effectLst/>
          <a:scene3d>
            <a:camera prst="orthographicFront"/>
            <a:lightRig rig="threePt" dir="t"/>
          </a:scene3d>
          <a:sp3d>
            <a:bevelT w="0" h="63500"/>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buSzPct val="100000"/>
              <a:buFont typeface="Trebuchet MS" panose="020B0603020202020204" pitchFamily="34" charset="0"/>
              <a:buChar char="​"/>
            </a:pPr>
            <a:r>
              <a:rPr lang="en-SG" dirty="0">
                <a:solidFill>
                  <a:schemeClr val="tx1">
                    <a:lumMod val="100000"/>
                  </a:schemeClr>
                </a:solidFill>
                <a:latin typeface="Trebuchet MS" panose="020B0603020202020204" pitchFamily="34" charset="0"/>
                <a:sym typeface="+mn-lt"/>
              </a:rPr>
              <a:t>Reduce losses incurred in hiring vessels for shipping purposes</a:t>
            </a:r>
            <a:endParaRPr lang="en-US" dirty="0">
              <a:solidFill>
                <a:schemeClr val="tx1">
                  <a:lumMod val="100000"/>
                </a:schemeClr>
              </a:solidFill>
              <a:latin typeface="Trebuchet MS" panose="020B0603020202020204" pitchFamily="34" charset="0"/>
              <a:sym typeface="+mn-lt"/>
            </a:endParaRPr>
          </a:p>
        </p:txBody>
      </p:sp>
      <p:grpSp>
        <p:nvGrpSpPr>
          <p:cNvPr id="5" name="Group 4">
            <a:extLst>
              <a:ext uri="{FF2B5EF4-FFF2-40B4-BE49-F238E27FC236}">
                <a16:creationId xmlns:a16="http://schemas.microsoft.com/office/drawing/2014/main" id="{ED3B7123-259F-4B32-B594-AFA474545685}"/>
              </a:ext>
            </a:extLst>
          </p:cNvPr>
          <p:cNvGrpSpPr/>
          <p:nvPr/>
        </p:nvGrpSpPr>
        <p:grpSpPr>
          <a:xfrm>
            <a:off x="4770291" y="1233771"/>
            <a:ext cx="1076619" cy="1076619"/>
            <a:chOff x="4700067" y="777307"/>
            <a:chExt cx="1217066" cy="1217066"/>
          </a:xfrm>
        </p:grpSpPr>
        <p:sp>
          <p:nvSpPr>
            <p:cNvPr id="8" name="Oval 7">
              <a:extLst>
                <a:ext uri="{FF2B5EF4-FFF2-40B4-BE49-F238E27FC236}">
                  <a16:creationId xmlns:a16="http://schemas.microsoft.com/office/drawing/2014/main" id="{899FEFB2-2C5B-4F43-8D24-A2916D7E3C09}"/>
                </a:ext>
              </a:extLst>
            </p:cNvPr>
            <p:cNvSpPr/>
            <p:nvPr/>
          </p:nvSpPr>
          <p:spPr>
            <a:xfrm>
              <a:off x="4700067" y="777307"/>
              <a:ext cx="1217066" cy="1217066"/>
            </a:xfrm>
            <a:prstGeom prst="ellipse">
              <a:avLst/>
            </a:prstGeom>
            <a:grpFill/>
            <a:ln w="38100">
              <a:gradFill flip="none" rotWithShape="1">
                <a:gsLst>
                  <a:gs pos="100000">
                    <a:schemeClr val="accent2"/>
                  </a:gs>
                  <a:gs pos="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sym typeface="+mn-lt"/>
              </a:endParaRPr>
            </a:p>
          </p:txBody>
        </p:sp>
        <p:grpSp>
          <p:nvGrpSpPr>
            <p:cNvPr id="12" name="bcgIcons_Target">
              <a:extLst>
                <a:ext uri="{FF2B5EF4-FFF2-40B4-BE49-F238E27FC236}">
                  <a16:creationId xmlns:a16="http://schemas.microsoft.com/office/drawing/2014/main" id="{F71A2438-0840-486A-8364-C24D4A46E535}"/>
                </a:ext>
              </a:extLst>
            </p:cNvPr>
            <p:cNvGrpSpPr>
              <a:grpSpLocks noChangeAspect="1"/>
            </p:cNvGrpSpPr>
            <p:nvPr/>
          </p:nvGrpSpPr>
          <p:grpSpPr bwMode="auto">
            <a:xfrm>
              <a:off x="4835551" y="912353"/>
              <a:ext cx="946098" cy="946974"/>
              <a:chOff x="1682" y="0"/>
              <a:chExt cx="4316" cy="4320"/>
            </a:xfrm>
          </p:grpSpPr>
          <p:sp>
            <p:nvSpPr>
              <p:cNvPr id="13" name="AutoShape 23">
                <a:extLst>
                  <a:ext uri="{FF2B5EF4-FFF2-40B4-BE49-F238E27FC236}">
                    <a16:creationId xmlns:a16="http://schemas.microsoft.com/office/drawing/2014/main" id="{73295759-3926-493E-8E80-A6E5814FD8C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mn-lt"/>
                </a:endParaRPr>
              </a:p>
            </p:txBody>
          </p:sp>
          <p:sp>
            <p:nvSpPr>
              <p:cNvPr id="14" name="Freeform 25">
                <a:extLst>
                  <a:ext uri="{FF2B5EF4-FFF2-40B4-BE49-F238E27FC236}">
                    <a16:creationId xmlns:a16="http://schemas.microsoft.com/office/drawing/2014/main" id="{CB15C63E-762F-4436-B367-11899A0DE712}"/>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mn-lt"/>
                </a:endParaRPr>
              </a:p>
            </p:txBody>
          </p:sp>
          <p:sp>
            <p:nvSpPr>
              <p:cNvPr id="15" name="Freeform 26">
                <a:extLst>
                  <a:ext uri="{FF2B5EF4-FFF2-40B4-BE49-F238E27FC236}">
                    <a16:creationId xmlns:a16="http://schemas.microsoft.com/office/drawing/2014/main" id="{2C0D3C42-4CDD-452B-80DB-328161B135F8}"/>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9BA74"/>
                  </a:solidFill>
                  <a:sym typeface="+mn-lt"/>
                </a:endParaRPr>
              </a:p>
            </p:txBody>
          </p:sp>
        </p:grpSp>
      </p:grpSp>
      <p:sp>
        <p:nvSpPr>
          <p:cNvPr id="75" name="Oval 20">
            <a:extLst>
              <a:ext uri="{FF2B5EF4-FFF2-40B4-BE49-F238E27FC236}">
                <a16:creationId xmlns:a16="http://schemas.microsoft.com/office/drawing/2014/main" id="{F75AADC5-AFAD-48EA-966E-CC513CC1B00D}"/>
              </a:ext>
            </a:extLst>
          </p:cNvPr>
          <p:cNvSpPr>
            <a:spLocks noChangeAspect="1" noChangeArrowheads="1"/>
          </p:cNvSpPr>
          <p:nvPr/>
        </p:nvSpPr>
        <p:spPr bwMode="auto">
          <a:xfrm>
            <a:off x="4565646" y="1618626"/>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sym typeface="+mn-lt"/>
              </a:rPr>
              <a:t>1</a:t>
            </a:r>
          </a:p>
        </p:txBody>
      </p:sp>
      <p:sp>
        <p:nvSpPr>
          <p:cNvPr id="37" name="Rectangle 36">
            <a:extLst>
              <a:ext uri="{FF2B5EF4-FFF2-40B4-BE49-F238E27FC236}">
                <a16:creationId xmlns:a16="http://schemas.microsoft.com/office/drawing/2014/main" id="{061D488C-79C7-4C43-BF75-B92134BE59D1}"/>
              </a:ext>
            </a:extLst>
          </p:cNvPr>
          <p:cNvSpPr/>
          <p:nvPr>
            <p:custDataLst>
              <p:tags r:id="rId4"/>
            </p:custDataLst>
          </p:nvPr>
        </p:nvSpPr>
        <p:spPr>
          <a:xfrm>
            <a:off x="6284396" y="3180336"/>
            <a:ext cx="5192591" cy="830997"/>
          </a:xfrm>
          <a:prstGeom prst="rect">
            <a:avLst/>
          </a:prstGeom>
          <a:noFill/>
          <a:ln w="9525">
            <a:noFill/>
            <a:prstDash val="solid"/>
          </a:ln>
          <a:effectLst/>
          <a:scene3d>
            <a:camera prst="orthographicFront"/>
            <a:lightRig rig="threePt" dir="t"/>
          </a:scene3d>
          <a:sp3d>
            <a:bevelT w="0" h="63500"/>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buSzPct val="100000"/>
              <a:buFont typeface="Trebuchet MS" panose="020B0603020202020204" pitchFamily="34" charset="0"/>
              <a:buChar char="​"/>
            </a:pPr>
            <a:r>
              <a:rPr lang="en-SG" dirty="0">
                <a:solidFill>
                  <a:schemeClr val="tx1">
                    <a:lumMod val="100000"/>
                  </a:schemeClr>
                </a:solidFill>
                <a:latin typeface="Trebuchet MS" panose="020B0603020202020204" pitchFamily="34" charset="0"/>
                <a:sym typeface="+mn-lt"/>
              </a:rPr>
              <a:t>Help charterers in bidding for the right vessels well in advance based on future availability of the vessels at various loading ports</a:t>
            </a:r>
            <a:endParaRPr lang="en-US" dirty="0">
              <a:solidFill>
                <a:schemeClr val="tx1">
                  <a:lumMod val="100000"/>
                </a:schemeClr>
              </a:solidFill>
              <a:latin typeface="Trebuchet MS" panose="020B0603020202020204" pitchFamily="34" charset="0"/>
              <a:sym typeface="+mn-lt"/>
            </a:endParaRPr>
          </a:p>
        </p:txBody>
      </p:sp>
      <p:grpSp>
        <p:nvGrpSpPr>
          <p:cNvPr id="16" name="Group 15">
            <a:extLst>
              <a:ext uri="{FF2B5EF4-FFF2-40B4-BE49-F238E27FC236}">
                <a16:creationId xmlns:a16="http://schemas.microsoft.com/office/drawing/2014/main" id="{324D4C6E-CEEB-44BC-9512-F7C7E5F8335A}"/>
              </a:ext>
            </a:extLst>
          </p:cNvPr>
          <p:cNvGrpSpPr/>
          <p:nvPr/>
        </p:nvGrpSpPr>
        <p:grpSpPr>
          <a:xfrm>
            <a:off x="4779816" y="3057525"/>
            <a:ext cx="1076619" cy="1076619"/>
            <a:chOff x="4770290" y="1609800"/>
            <a:chExt cx="1076619" cy="1076619"/>
          </a:xfrm>
        </p:grpSpPr>
        <p:sp>
          <p:nvSpPr>
            <p:cNvPr id="39" name="Oval 38">
              <a:extLst>
                <a:ext uri="{FF2B5EF4-FFF2-40B4-BE49-F238E27FC236}">
                  <a16:creationId xmlns:a16="http://schemas.microsoft.com/office/drawing/2014/main" id="{DFB5C0CA-9D91-4C6F-8ED0-4F242487DF95}"/>
                </a:ext>
              </a:extLst>
            </p:cNvPr>
            <p:cNvSpPr/>
            <p:nvPr/>
          </p:nvSpPr>
          <p:spPr>
            <a:xfrm>
              <a:off x="4770290" y="1609800"/>
              <a:ext cx="1076619" cy="1076619"/>
            </a:xfrm>
            <a:prstGeom prst="ellipse">
              <a:avLst/>
            </a:prstGeom>
            <a:grpFill/>
            <a:ln w="38100">
              <a:gradFill flip="none" rotWithShape="1">
                <a:gsLst>
                  <a:gs pos="100000">
                    <a:schemeClr val="accent2"/>
                  </a:gs>
                  <a:gs pos="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sym typeface="+mn-lt"/>
              </a:endParaRPr>
            </a:p>
          </p:txBody>
        </p:sp>
        <p:grpSp>
          <p:nvGrpSpPr>
            <p:cNvPr id="61" name="Group 60">
              <a:extLst>
                <a:ext uri="{FF2B5EF4-FFF2-40B4-BE49-F238E27FC236}">
                  <a16:creationId xmlns:a16="http://schemas.microsoft.com/office/drawing/2014/main" id="{BD8034AD-C394-4C3A-803C-486C482592C0}"/>
                </a:ext>
              </a:extLst>
            </p:cNvPr>
            <p:cNvGrpSpPr>
              <a:grpSpLocks noChangeAspect="1"/>
            </p:cNvGrpSpPr>
            <p:nvPr/>
          </p:nvGrpSpPr>
          <p:grpSpPr>
            <a:xfrm>
              <a:off x="4835113" y="1674623"/>
              <a:ext cx="946974" cy="946974"/>
              <a:chOff x="5273675" y="2606675"/>
              <a:chExt cx="1644650" cy="1644650"/>
            </a:xfrm>
          </p:grpSpPr>
          <p:sp>
            <p:nvSpPr>
              <p:cNvPr id="62" name="AutoShape 3">
                <a:extLst>
                  <a:ext uri="{FF2B5EF4-FFF2-40B4-BE49-F238E27FC236}">
                    <a16:creationId xmlns:a16="http://schemas.microsoft.com/office/drawing/2014/main" id="{D6DF4242-BFA7-42DB-9054-A0BF5BD77F0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mn-lt"/>
                </a:endParaRPr>
              </a:p>
            </p:txBody>
          </p:sp>
          <p:grpSp>
            <p:nvGrpSpPr>
              <p:cNvPr id="63" name="Group 62">
                <a:extLst>
                  <a:ext uri="{FF2B5EF4-FFF2-40B4-BE49-F238E27FC236}">
                    <a16:creationId xmlns:a16="http://schemas.microsoft.com/office/drawing/2014/main" id="{9139695D-9E5B-470E-B194-D17C64170183}"/>
                  </a:ext>
                </a:extLst>
              </p:cNvPr>
              <p:cNvGrpSpPr/>
              <p:nvPr/>
            </p:nvGrpSpPr>
            <p:grpSpPr>
              <a:xfrm>
                <a:off x="5332413" y="3094038"/>
                <a:ext cx="1533525" cy="614362"/>
                <a:chOff x="5332413" y="3094038"/>
                <a:chExt cx="1533525" cy="614362"/>
              </a:xfrm>
            </p:grpSpPr>
            <p:sp>
              <p:nvSpPr>
                <p:cNvPr id="64" name="Freeform 10">
                  <a:extLst>
                    <a:ext uri="{FF2B5EF4-FFF2-40B4-BE49-F238E27FC236}">
                      <a16:creationId xmlns:a16="http://schemas.microsoft.com/office/drawing/2014/main" id="{86A657CE-EA5C-4B7F-8808-220D6662F378}"/>
                    </a:ext>
                  </a:extLst>
                </p:cNvPr>
                <p:cNvSpPr>
                  <a:spLocks/>
                </p:cNvSpPr>
                <p:nvPr/>
              </p:nvSpPr>
              <p:spPr bwMode="auto">
                <a:xfrm>
                  <a:off x="5332413" y="3094038"/>
                  <a:ext cx="1533525" cy="542925"/>
                </a:xfrm>
                <a:custGeom>
                  <a:avLst/>
                  <a:gdLst>
                    <a:gd name="connsiteX0" fmla="*/ 1246187 w 1533525"/>
                    <a:gd name="connsiteY0" fmla="*/ 511175 h 542925"/>
                    <a:gd name="connsiteX1" fmla="*/ 1517878 w 1533525"/>
                    <a:gd name="connsiteY1" fmla="*/ 511175 h 542925"/>
                    <a:gd name="connsiteX2" fmla="*/ 1533525 w 1533525"/>
                    <a:gd name="connsiteY2" fmla="*/ 527050 h 542925"/>
                    <a:gd name="connsiteX3" fmla="*/ 1517878 w 1533525"/>
                    <a:gd name="connsiteY3" fmla="*/ 542925 h 542925"/>
                    <a:gd name="connsiteX4" fmla="*/ 1255433 w 1533525"/>
                    <a:gd name="connsiteY4" fmla="*/ 542925 h 542925"/>
                    <a:gd name="connsiteX5" fmla="*/ 1246187 w 1533525"/>
                    <a:gd name="connsiteY5" fmla="*/ 511175 h 542925"/>
                    <a:gd name="connsiteX6" fmla="*/ 735012 w 1533525"/>
                    <a:gd name="connsiteY6" fmla="*/ 511175 h 542925"/>
                    <a:gd name="connsiteX7" fmla="*/ 792162 w 1533525"/>
                    <a:gd name="connsiteY7" fmla="*/ 511175 h 542925"/>
                    <a:gd name="connsiteX8" fmla="*/ 783101 w 1533525"/>
                    <a:gd name="connsiteY8" fmla="*/ 542925 h 542925"/>
                    <a:gd name="connsiteX9" fmla="*/ 744072 w 1533525"/>
                    <a:gd name="connsiteY9" fmla="*/ 542925 h 542925"/>
                    <a:gd name="connsiteX10" fmla="*/ 735012 w 1533525"/>
                    <a:gd name="connsiteY10" fmla="*/ 511175 h 542925"/>
                    <a:gd name="connsiteX11" fmla="*/ 15650 w 1533525"/>
                    <a:gd name="connsiteY11" fmla="*/ 511175 h 542925"/>
                    <a:gd name="connsiteX12" fmla="*/ 280988 w 1533525"/>
                    <a:gd name="connsiteY12" fmla="*/ 511175 h 542925"/>
                    <a:gd name="connsiteX13" fmla="*/ 271740 w 1533525"/>
                    <a:gd name="connsiteY13" fmla="*/ 542925 h 542925"/>
                    <a:gd name="connsiteX14" fmla="*/ 15650 w 1533525"/>
                    <a:gd name="connsiteY14" fmla="*/ 542925 h 542925"/>
                    <a:gd name="connsiteX15" fmla="*/ 0 w 1533525"/>
                    <a:gd name="connsiteY15" fmla="*/ 527050 h 542925"/>
                    <a:gd name="connsiteX16" fmla="*/ 15650 w 1533525"/>
                    <a:gd name="connsiteY16" fmla="*/ 511175 h 542925"/>
                    <a:gd name="connsiteX17" fmla="*/ 764317 w 1533525"/>
                    <a:gd name="connsiteY17" fmla="*/ 349250 h 542925"/>
                    <a:gd name="connsiteX18" fmla="*/ 778175 w 1533525"/>
                    <a:gd name="connsiteY18" fmla="*/ 350679 h 542925"/>
                    <a:gd name="connsiteX19" fmla="*/ 788387 w 1533525"/>
                    <a:gd name="connsiteY19" fmla="*/ 352822 h 542925"/>
                    <a:gd name="connsiteX20" fmla="*/ 789845 w 1533525"/>
                    <a:gd name="connsiteY20" fmla="*/ 355680 h 542925"/>
                    <a:gd name="connsiteX21" fmla="*/ 773799 w 1533525"/>
                    <a:gd name="connsiteY21" fmla="*/ 380683 h 542925"/>
                    <a:gd name="connsiteX22" fmla="*/ 773799 w 1533525"/>
                    <a:gd name="connsiteY22" fmla="*/ 382826 h 542925"/>
                    <a:gd name="connsiteX23" fmla="*/ 789116 w 1533525"/>
                    <a:gd name="connsiteY23" fmla="*/ 477838 h 542925"/>
                    <a:gd name="connsiteX24" fmla="*/ 736600 w 1533525"/>
                    <a:gd name="connsiteY24" fmla="*/ 477838 h 542925"/>
                    <a:gd name="connsiteX25" fmla="*/ 753376 w 1533525"/>
                    <a:gd name="connsiteY25" fmla="*/ 382826 h 542925"/>
                    <a:gd name="connsiteX26" fmla="*/ 753376 w 1533525"/>
                    <a:gd name="connsiteY26" fmla="*/ 380683 h 542925"/>
                    <a:gd name="connsiteX27" fmla="*/ 737329 w 1533525"/>
                    <a:gd name="connsiteY27" fmla="*/ 355680 h 542925"/>
                    <a:gd name="connsiteX28" fmla="*/ 738788 w 1533525"/>
                    <a:gd name="connsiteY28" fmla="*/ 352822 h 542925"/>
                    <a:gd name="connsiteX29" fmla="*/ 749729 w 1533525"/>
                    <a:gd name="connsiteY29" fmla="*/ 350679 h 542925"/>
                    <a:gd name="connsiteX30" fmla="*/ 764317 w 1533525"/>
                    <a:gd name="connsiteY30" fmla="*/ 349250 h 542925"/>
                    <a:gd name="connsiteX31" fmla="*/ 1200963 w 1533525"/>
                    <a:gd name="connsiteY31" fmla="*/ 334962 h 542925"/>
                    <a:gd name="connsiteX32" fmla="*/ 1203105 w 1533525"/>
                    <a:gd name="connsiteY32" fmla="*/ 337095 h 542925"/>
                    <a:gd name="connsiteX33" fmla="*/ 1268787 w 1533525"/>
                    <a:gd name="connsiteY33" fmla="*/ 409598 h 542925"/>
                    <a:gd name="connsiteX34" fmla="*/ 1280210 w 1533525"/>
                    <a:gd name="connsiteY34" fmla="*/ 409598 h 542925"/>
                    <a:gd name="connsiteX35" fmla="*/ 1345893 w 1533525"/>
                    <a:gd name="connsiteY35" fmla="*/ 337095 h 542925"/>
                    <a:gd name="connsiteX36" fmla="*/ 1348034 w 1533525"/>
                    <a:gd name="connsiteY36" fmla="*/ 334962 h 542925"/>
                    <a:gd name="connsiteX37" fmla="*/ 1441561 w 1533525"/>
                    <a:gd name="connsiteY37" fmla="*/ 351311 h 542925"/>
                    <a:gd name="connsiteX38" fmla="*/ 1492250 w 1533525"/>
                    <a:gd name="connsiteY38" fmla="*/ 477837 h 542925"/>
                    <a:gd name="connsiteX39" fmla="*/ 1232376 w 1533525"/>
                    <a:gd name="connsiteY39" fmla="*/ 477837 h 542925"/>
                    <a:gd name="connsiteX40" fmla="*/ 1198821 w 1533525"/>
                    <a:gd name="connsiteY40" fmla="*/ 440164 h 542925"/>
                    <a:gd name="connsiteX41" fmla="*/ 1101725 w 1533525"/>
                    <a:gd name="connsiteY41" fmla="*/ 421682 h 542925"/>
                    <a:gd name="connsiteX42" fmla="*/ 1111720 w 1533525"/>
                    <a:gd name="connsiteY42" fmla="*/ 409598 h 542925"/>
                    <a:gd name="connsiteX43" fmla="*/ 1112434 w 1533525"/>
                    <a:gd name="connsiteY43" fmla="*/ 408177 h 542925"/>
                    <a:gd name="connsiteX44" fmla="*/ 1118859 w 1533525"/>
                    <a:gd name="connsiteY44" fmla="*/ 394671 h 542925"/>
                    <a:gd name="connsiteX45" fmla="*/ 1120287 w 1533525"/>
                    <a:gd name="connsiteY45" fmla="*/ 390406 h 542925"/>
                    <a:gd name="connsiteX46" fmla="*/ 1155271 w 1533525"/>
                    <a:gd name="connsiteY46" fmla="*/ 338516 h 542925"/>
                    <a:gd name="connsiteX47" fmla="*/ 1200963 w 1533525"/>
                    <a:gd name="connsiteY47" fmla="*/ 334962 h 542925"/>
                    <a:gd name="connsiteX48" fmla="*/ 837524 w 1533525"/>
                    <a:gd name="connsiteY48" fmla="*/ 334962 h 542925"/>
                    <a:gd name="connsiteX49" fmla="*/ 883153 w 1533525"/>
                    <a:gd name="connsiteY49" fmla="*/ 338545 h 542925"/>
                    <a:gd name="connsiteX50" fmla="*/ 917375 w 1533525"/>
                    <a:gd name="connsiteY50" fmla="*/ 389427 h 542925"/>
                    <a:gd name="connsiteX51" fmla="*/ 919514 w 1533525"/>
                    <a:gd name="connsiteY51" fmla="*/ 395160 h 542925"/>
                    <a:gd name="connsiteX52" fmla="*/ 928069 w 1533525"/>
                    <a:gd name="connsiteY52" fmla="*/ 412360 h 542925"/>
                    <a:gd name="connsiteX53" fmla="*/ 936625 w 1533525"/>
                    <a:gd name="connsiteY53" fmla="*/ 422393 h 542925"/>
                    <a:gd name="connsiteX54" fmla="*/ 839663 w 1533525"/>
                    <a:gd name="connsiteY54" fmla="*/ 441026 h 542925"/>
                    <a:gd name="connsiteX55" fmla="*/ 817562 w 1533525"/>
                    <a:gd name="connsiteY55" fmla="*/ 460375 h 542925"/>
                    <a:gd name="connsiteX56" fmla="*/ 835386 w 1533525"/>
                    <a:gd name="connsiteY56" fmla="*/ 337112 h 542925"/>
                    <a:gd name="connsiteX57" fmla="*/ 837524 w 1533525"/>
                    <a:gd name="connsiteY57" fmla="*/ 334962 h 542925"/>
                    <a:gd name="connsiteX58" fmla="*/ 689650 w 1533525"/>
                    <a:gd name="connsiteY58" fmla="*/ 334962 h 542925"/>
                    <a:gd name="connsiteX59" fmla="*/ 691789 w 1533525"/>
                    <a:gd name="connsiteY59" fmla="*/ 337112 h 542925"/>
                    <a:gd name="connsiteX60" fmla="*/ 709613 w 1533525"/>
                    <a:gd name="connsiteY60" fmla="*/ 460375 h 542925"/>
                    <a:gd name="connsiteX61" fmla="*/ 687511 w 1533525"/>
                    <a:gd name="connsiteY61" fmla="*/ 441026 h 542925"/>
                    <a:gd name="connsiteX62" fmla="*/ 590550 w 1533525"/>
                    <a:gd name="connsiteY62" fmla="*/ 422393 h 542925"/>
                    <a:gd name="connsiteX63" fmla="*/ 600531 w 1533525"/>
                    <a:gd name="connsiteY63" fmla="*/ 410210 h 542925"/>
                    <a:gd name="connsiteX64" fmla="*/ 601244 w 1533525"/>
                    <a:gd name="connsiteY64" fmla="*/ 408777 h 542925"/>
                    <a:gd name="connsiteX65" fmla="*/ 607661 w 1533525"/>
                    <a:gd name="connsiteY65" fmla="*/ 395160 h 542925"/>
                    <a:gd name="connsiteX66" fmla="*/ 609087 w 1533525"/>
                    <a:gd name="connsiteY66" fmla="*/ 390860 h 542925"/>
                    <a:gd name="connsiteX67" fmla="*/ 644021 w 1533525"/>
                    <a:gd name="connsiteY67" fmla="*/ 338545 h 542925"/>
                    <a:gd name="connsiteX68" fmla="*/ 689650 w 1533525"/>
                    <a:gd name="connsiteY68" fmla="*/ 334962 h 542925"/>
                    <a:gd name="connsiteX69" fmla="*/ 180120 w 1533525"/>
                    <a:gd name="connsiteY69" fmla="*/ 334962 h 542925"/>
                    <a:gd name="connsiteX70" fmla="*/ 252360 w 1533525"/>
                    <a:gd name="connsiteY70" fmla="*/ 369082 h 542925"/>
                    <a:gd name="connsiteX71" fmla="*/ 323885 w 1533525"/>
                    <a:gd name="connsiteY71" fmla="*/ 334962 h 542925"/>
                    <a:gd name="connsiteX72" fmla="*/ 371806 w 1533525"/>
                    <a:gd name="connsiteY72" fmla="*/ 338516 h 542925"/>
                    <a:gd name="connsiteX73" fmla="*/ 406138 w 1533525"/>
                    <a:gd name="connsiteY73" fmla="*/ 388985 h 542925"/>
                    <a:gd name="connsiteX74" fmla="*/ 408284 w 1533525"/>
                    <a:gd name="connsiteY74" fmla="*/ 394671 h 542925"/>
                    <a:gd name="connsiteX75" fmla="*/ 416867 w 1533525"/>
                    <a:gd name="connsiteY75" fmla="*/ 411731 h 542925"/>
                    <a:gd name="connsiteX76" fmla="*/ 425450 w 1533525"/>
                    <a:gd name="connsiteY76" fmla="*/ 421682 h 542925"/>
                    <a:gd name="connsiteX77" fmla="*/ 328176 w 1533525"/>
                    <a:gd name="connsiteY77" fmla="*/ 440164 h 542925"/>
                    <a:gd name="connsiteX78" fmla="*/ 294560 w 1533525"/>
                    <a:gd name="connsiteY78" fmla="*/ 477837 h 542925"/>
                    <a:gd name="connsiteX79" fmla="*/ 34925 w 1533525"/>
                    <a:gd name="connsiteY79" fmla="*/ 477837 h 542925"/>
                    <a:gd name="connsiteX80" fmla="*/ 84992 w 1533525"/>
                    <a:gd name="connsiteY80" fmla="*/ 351311 h 542925"/>
                    <a:gd name="connsiteX81" fmla="*/ 180120 w 1533525"/>
                    <a:gd name="connsiteY81" fmla="*/ 334962 h 542925"/>
                    <a:gd name="connsiteX82" fmla="*/ 1381410 w 1533525"/>
                    <a:gd name="connsiteY82" fmla="*/ 215900 h 542925"/>
                    <a:gd name="connsiteX83" fmla="*/ 1414463 w 1533525"/>
                    <a:gd name="connsiteY83" fmla="*/ 298275 h 542925"/>
                    <a:gd name="connsiteX84" fmla="*/ 1376380 w 1533525"/>
                    <a:gd name="connsiteY84" fmla="*/ 320675 h 542925"/>
                    <a:gd name="connsiteX85" fmla="*/ 1349074 w 1533525"/>
                    <a:gd name="connsiteY85" fmla="*/ 319230 h 542925"/>
                    <a:gd name="connsiteX86" fmla="*/ 1346200 w 1533525"/>
                    <a:gd name="connsiteY86" fmla="*/ 317785 h 542925"/>
                    <a:gd name="connsiteX87" fmla="*/ 1346200 w 1533525"/>
                    <a:gd name="connsiteY87" fmla="*/ 293939 h 542925"/>
                    <a:gd name="connsiteX88" fmla="*/ 1381410 w 1533525"/>
                    <a:gd name="connsiteY88" fmla="*/ 215900 h 542925"/>
                    <a:gd name="connsiteX89" fmla="*/ 1167890 w 1533525"/>
                    <a:gd name="connsiteY89" fmla="*/ 215900 h 542925"/>
                    <a:gd name="connsiteX90" fmla="*/ 1203325 w 1533525"/>
                    <a:gd name="connsiteY90" fmla="*/ 293939 h 542925"/>
                    <a:gd name="connsiteX91" fmla="*/ 1203325 w 1533525"/>
                    <a:gd name="connsiteY91" fmla="*/ 317785 h 542925"/>
                    <a:gd name="connsiteX92" fmla="*/ 1200490 w 1533525"/>
                    <a:gd name="connsiteY92" fmla="*/ 319230 h 542925"/>
                    <a:gd name="connsiteX93" fmla="*/ 1173559 w 1533525"/>
                    <a:gd name="connsiteY93" fmla="*/ 320675 h 542925"/>
                    <a:gd name="connsiteX94" fmla="*/ 1163637 w 1533525"/>
                    <a:gd name="connsiteY94" fmla="*/ 317785 h 542925"/>
                    <a:gd name="connsiteX95" fmla="*/ 1171433 w 1533525"/>
                    <a:gd name="connsiteY95" fmla="*/ 278765 h 542925"/>
                    <a:gd name="connsiteX96" fmla="*/ 1165055 w 1533525"/>
                    <a:gd name="connsiteY96" fmla="*/ 233242 h 542925"/>
                    <a:gd name="connsiteX97" fmla="*/ 1167890 w 1533525"/>
                    <a:gd name="connsiteY97" fmla="*/ 215900 h 542925"/>
                    <a:gd name="connsiteX98" fmla="*/ 1275200 w 1533525"/>
                    <a:gd name="connsiteY98" fmla="*/ 0 h 542925"/>
                    <a:gd name="connsiteX99" fmla="*/ 1397875 w 1533525"/>
                    <a:gd name="connsiteY99" fmla="*/ 124537 h 542925"/>
                    <a:gd name="connsiteX100" fmla="*/ 1393596 w 1533525"/>
                    <a:gd name="connsiteY100" fmla="*/ 166524 h 542925"/>
                    <a:gd name="connsiteX101" fmla="*/ 1393596 w 1533525"/>
                    <a:gd name="connsiteY101" fmla="*/ 165812 h 542925"/>
                    <a:gd name="connsiteX102" fmla="*/ 1380044 w 1533525"/>
                    <a:gd name="connsiteY102" fmla="*/ 185026 h 542925"/>
                    <a:gd name="connsiteX103" fmla="*/ 1378618 w 1533525"/>
                    <a:gd name="connsiteY103" fmla="*/ 185738 h 542925"/>
                    <a:gd name="connsiteX104" fmla="*/ 1370772 w 1533525"/>
                    <a:gd name="connsiteY104" fmla="*/ 185738 h 542925"/>
                    <a:gd name="connsiteX105" fmla="*/ 1370059 w 1533525"/>
                    <a:gd name="connsiteY105" fmla="*/ 185026 h 542925"/>
                    <a:gd name="connsiteX106" fmla="*/ 1208870 w 1533525"/>
                    <a:gd name="connsiteY106" fmla="*/ 100341 h 542925"/>
                    <a:gd name="connsiteX107" fmla="*/ 1207444 w 1533525"/>
                    <a:gd name="connsiteY107" fmla="*/ 99630 h 542925"/>
                    <a:gd name="connsiteX108" fmla="*/ 1159658 w 1533525"/>
                    <a:gd name="connsiteY108" fmla="*/ 175064 h 542925"/>
                    <a:gd name="connsiteX109" fmla="*/ 1152525 w 1533525"/>
                    <a:gd name="connsiteY109" fmla="*/ 124537 h 542925"/>
                    <a:gd name="connsiteX110" fmla="*/ 1275200 w 1533525"/>
                    <a:gd name="connsiteY110" fmla="*/ 0 h 542925"/>
                    <a:gd name="connsiteX111" fmla="*/ 763587 w 1533525"/>
                    <a:gd name="connsiteY111" fmla="*/ 0 h 542925"/>
                    <a:gd name="connsiteX112" fmla="*/ 884237 w 1533525"/>
                    <a:gd name="connsiteY112" fmla="*/ 123004 h 542925"/>
                    <a:gd name="connsiteX113" fmla="*/ 879953 w 1533525"/>
                    <a:gd name="connsiteY113" fmla="*/ 164953 h 542925"/>
                    <a:gd name="connsiteX114" fmla="*/ 866389 w 1533525"/>
                    <a:gd name="connsiteY114" fmla="*/ 184150 h 542925"/>
                    <a:gd name="connsiteX115" fmla="*/ 857108 w 1533525"/>
                    <a:gd name="connsiteY115" fmla="*/ 184150 h 542925"/>
                    <a:gd name="connsiteX116" fmla="*/ 856394 w 1533525"/>
                    <a:gd name="connsiteY116" fmla="*/ 93142 h 542925"/>
                    <a:gd name="connsiteX117" fmla="*/ 697194 w 1533525"/>
                    <a:gd name="connsiteY117" fmla="*/ 98830 h 542925"/>
                    <a:gd name="connsiteX118" fmla="*/ 667923 w 1533525"/>
                    <a:gd name="connsiteY118" fmla="*/ 182017 h 542925"/>
                    <a:gd name="connsiteX119" fmla="*/ 660070 w 1533525"/>
                    <a:gd name="connsiteY119" fmla="*/ 181306 h 542925"/>
                    <a:gd name="connsiteX120" fmla="*/ 647934 w 1533525"/>
                    <a:gd name="connsiteY120" fmla="*/ 166375 h 542925"/>
                    <a:gd name="connsiteX121" fmla="*/ 642937 w 1533525"/>
                    <a:gd name="connsiteY121" fmla="*/ 123004 h 542925"/>
                    <a:gd name="connsiteX122" fmla="*/ 763587 w 1533525"/>
                    <a:gd name="connsiteY122" fmla="*/ 0 h 542925"/>
                    <a:gd name="connsiteX123" fmla="*/ 252412 w 1533525"/>
                    <a:gd name="connsiteY123" fmla="*/ 0 h 542925"/>
                    <a:gd name="connsiteX124" fmla="*/ 373062 w 1533525"/>
                    <a:gd name="connsiteY124" fmla="*/ 123004 h 542925"/>
                    <a:gd name="connsiteX125" fmla="*/ 368778 w 1533525"/>
                    <a:gd name="connsiteY125" fmla="*/ 164953 h 542925"/>
                    <a:gd name="connsiteX126" fmla="*/ 368064 w 1533525"/>
                    <a:gd name="connsiteY126" fmla="*/ 164953 h 542925"/>
                    <a:gd name="connsiteX127" fmla="*/ 354500 w 1533525"/>
                    <a:gd name="connsiteY127" fmla="*/ 184150 h 542925"/>
                    <a:gd name="connsiteX128" fmla="*/ 345933 w 1533525"/>
                    <a:gd name="connsiteY128" fmla="*/ 184150 h 542925"/>
                    <a:gd name="connsiteX129" fmla="*/ 344506 w 1533525"/>
                    <a:gd name="connsiteY129" fmla="*/ 93142 h 542925"/>
                    <a:gd name="connsiteX130" fmla="*/ 186019 w 1533525"/>
                    <a:gd name="connsiteY130" fmla="*/ 98830 h 542925"/>
                    <a:gd name="connsiteX131" fmla="*/ 156748 w 1533525"/>
                    <a:gd name="connsiteY131" fmla="*/ 182017 h 542925"/>
                    <a:gd name="connsiteX132" fmla="*/ 148182 w 1533525"/>
                    <a:gd name="connsiteY132" fmla="*/ 181306 h 542925"/>
                    <a:gd name="connsiteX133" fmla="*/ 136759 w 1533525"/>
                    <a:gd name="connsiteY133" fmla="*/ 166375 h 542925"/>
                    <a:gd name="connsiteX134" fmla="*/ 131762 w 1533525"/>
                    <a:gd name="connsiteY134" fmla="*/ 123004 h 542925"/>
                    <a:gd name="connsiteX135" fmla="*/ 252412 w 1533525"/>
                    <a:gd name="connsiteY135" fmla="*/ 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533525" h="542925">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ym typeface="+mn-lt"/>
                  </a:endParaRPr>
                </a:p>
              </p:txBody>
            </p:sp>
            <p:sp>
              <p:nvSpPr>
                <p:cNvPr id="65" name="Freeform 11">
                  <a:extLst>
                    <a:ext uri="{FF2B5EF4-FFF2-40B4-BE49-F238E27FC236}">
                      <a16:creationId xmlns:a16="http://schemas.microsoft.com/office/drawing/2014/main" id="{4AC5AFC5-3A50-4E87-84C2-0E7B27A0CF52}"/>
                    </a:ext>
                  </a:extLst>
                </p:cNvPr>
                <p:cNvSpPr>
                  <a:spLocks/>
                </p:cNvSpPr>
                <p:nvPr/>
              </p:nvSpPr>
              <p:spPr bwMode="auto">
                <a:xfrm>
                  <a:off x="5620327" y="3249613"/>
                  <a:ext cx="951344" cy="458787"/>
                </a:xfrm>
                <a:custGeom>
                  <a:avLst/>
                  <a:gdLst>
                    <a:gd name="connsiteX0" fmla="*/ 660078 w 951344"/>
                    <a:gd name="connsiteY0" fmla="*/ 296862 h 458787"/>
                    <a:gd name="connsiteX1" fmla="*/ 691398 w 951344"/>
                    <a:gd name="connsiteY1" fmla="*/ 313982 h 458787"/>
                    <a:gd name="connsiteX2" fmla="*/ 709193 w 951344"/>
                    <a:gd name="connsiteY2" fmla="*/ 318262 h 458787"/>
                    <a:gd name="connsiteX3" fmla="*/ 731260 w 951344"/>
                    <a:gd name="connsiteY3" fmla="*/ 319689 h 458787"/>
                    <a:gd name="connsiteX4" fmla="*/ 753326 w 951344"/>
                    <a:gd name="connsiteY4" fmla="*/ 318262 h 458787"/>
                    <a:gd name="connsiteX5" fmla="*/ 771121 w 951344"/>
                    <a:gd name="connsiteY5" fmla="*/ 313982 h 458787"/>
                    <a:gd name="connsiteX6" fmla="*/ 803153 w 951344"/>
                    <a:gd name="connsiteY6" fmla="*/ 296862 h 458787"/>
                    <a:gd name="connsiteX7" fmla="*/ 897824 w 951344"/>
                    <a:gd name="connsiteY7" fmla="*/ 313269 h 458787"/>
                    <a:gd name="connsiteX8" fmla="*/ 907790 w 951344"/>
                    <a:gd name="connsiteY8" fmla="*/ 322542 h 458787"/>
                    <a:gd name="connsiteX9" fmla="*/ 916332 w 951344"/>
                    <a:gd name="connsiteY9" fmla="*/ 337522 h 458787"/>
                    <a:gd name="connsiteX10" fmla="*/ 923450 w 951344"/>
                    <a:gd name="connsiteY10" fmla="*/ 353928 h 458787"/>
                    <a:gd name="connsiteX11" fmla="*/ 923450 w 951344"/>
                    <a:gd name="connsiteY11" fmla="*/ 355355 h 458787"/>
                    <a:gd name="connsiteX12" fmla="*/ 934127 w 951344"/>
                    <a:gd name="connsiteY12" fmla="*/ 386741 h 458787"/>
                    <a:gd name="connsiteX13" fmla="*/ 951210 w 951344"/>
                    <a:gd name="connsiteY13" fmla="*/ 451654 h 458787"/>
                    <a:gd name="connsiteX14" fmla="*/ 945516 w 951344"/>
                    <a:gd name="connsiteY14" fmla="*/ 458787 h 458787"/>
                    <a:gd name="connsiteX15" fmla="*/ 517004 w 951344"/>
                    <a:gd name="connsiteY15" fmla="*/ 458787 h 458787"/>
                    <a:gd name="connsiteX16" fmla="*/ 512021 w 951344"/>
                    <a:gd name="connsiteY16" fmla="*/ 451654 h 458787"/>
                    <a:gd name="connsiteX17" fmla="*/ 529104 w 951344"/>
                    <a:gd name="connsiteY17" fmla="*/ 386741 h 458787"/>
                    <a:gd name="connsiteX18" fmla="*/ 539070 w 951344"/>
                    <a:gd name="connsiteY18" fmla="*/ 355355 h 458787"/>
                    <a:gd name="connsiteX19" fmla="*/ 539782 w 951344"/>
                    <a:gd name="connsiteY19" fmla="*/ 353928 h 458787"/>
                    <a:gd name="connsiteX20" fmla="*/ 546188 w 951344"/>
                    <a:gd name="connsiteY20" fmla="*/ 337522 h 458787"/>
                    <a:gd name="connsiteX21" fmla="*/ 554730 w 951344"/>
                    <a:gd name="connsiteY21" fmla="*/ 322542 h 458787"/>
                    <a:gd name="connsiteX22" fmla="*/ 565407 w 951344"/>
                    <a:gd name="connsiteY22" fmla="*/ 313269 h 458787"/>
                    <a:gd name="connsiteX23" fmla="*/ 660078 w 951344"/>
                    <a:gd name="connsiteY23" fmla="*/ 296862 h 458787"/>
                    <a:gd name="connsiteX24" fmla="*/ 148191 w 951344"/>
                    <a:gd name="connsiteY24" fmla="*/ 296862 h 458787"/>
                    <a:gd name="connsiteX25" fmla="*/ 178799 w 951344"/>
                    <a:gd name="connsiteY25" fmla="*/ 313269 h 458787"/>
                    <a:gd name="connsiteX26" fmla="*/ 198018 w 951344"/>
                    <a:gd name="connsiteY26" fmla="*/ 318262 h 458787"/>
                    <a:gd name="connsiteX27" fmla="*/ 220084 w 951344"/>
                    <a:gd name="connsiteY27" fmla="*/ 319689 h 458787"/>
                    <a:gd name="connsiteX28" fmla="*/ 242151 w 951344"/>
                    <a:gd name="connsiteY28" fmla="*/ 318262 h 458787"/>
                    <a:gd name="connsiteX29" fmla="*/ 259946 w 951344"/>
                    <a:gd name="connsiteY29" fmla="*/ 313982 h 458787"/>
                    <a:gd name="connsiteX30" fmla="*/ 291266 w 951344"/>
                    <a:gd name="connsiteY30" fmla="*/ 296862 h 458787"/>
                    <a:gd name="connsiteX31" fmla="*/ 385937 w 951344"/>
                    <a:gd name="connsiteY31" fmla="*/ 313269 h 458787"/>
                    <a:gd name="connsiteX32" fmla="*/ 396614 w 951344"/>
                    <a:gd name="connsiteY32" fmla="*/ 322542 h 458787"/>
                    <a:gd name="connsiteX33" fmla="*/ 405156 w 951344"/>
                    <a:gd name="connsiteY33" fmla="*/ 337522 h 458787"/>
                    <a:gd name="connsiteX34" fmla="*/ 411562 w 951344"/>
                    <a:gd name="connsiteY34" fmla="*/ 353928 h 458787"/>
                    <a:gd name="connsiteX35" fmla="*/ 412274 w 951344"/>
                    <a:gd name="connsiteY35" fmla="*/ 355355 h 458787"/>
                    <a:gd name="connsiteX36" fmla="*/ 422240 w 951344"/>
                    <a:gd name="connsiteY36" fmla="*/ 386741 h 458787"/>
                    <a:gd name="connsiteX37" fmla="*/ 439323 w 951344"/>
                    <a:gd name="connsiteY37" fmla="*/ 451654 h 458787"/>
                    <a:gd name="connsiteX38" fmla="*/ 434340 w 951344"/>
                    <a:gd name="connsiteY38" fmla="*/ 458787 h 458787"/>
                    <a:gd name="connsiteX39" fmla="*/ 5828 w 951344"/>
                    <a:gd name="connsiteY39" fmla="*/ 458787 h 458787"/>
                    <a:gd name="connsiteX40" fmla="*/ 134 w 951344"/>
                    <a:gd name="connsiteY40" fmla="*/ 451654 h 458787"/>
                    <a:gd name="connsiteX41" fmla="*/ 17217 w 951344"/>
                    <a:gd name="connsiteY41" fmla="*/ 386741 h 458787"/>
                    <a:gd name="connsiteX42" fmla="*/ 27894 w 951344"/>
                    <a:gd name="connsiteY42" fmla="*/ 355355 h 458787"/>
                    <a:gd name="connsiteX43" fmla="*/ 27894 w 951344"/>
                    <a:gd name="connsiteY43" fmla="*/ 353928 h 458787"/>
                    <a:gd name="connsiteX44" fmla="*/ 33589 w 951344"/>
                    <a:gd name="connsiteY44" fmla="*/ 341088 h 458787"/>
                    <a:gd name="connsiteX45" fmla="*/ 43554 w 951344"/>
                    <a:gd name="connsiteY45" fmla="*/ 322542 h 458787"/>
                    <a:gd name="connsiteX46" fmla="*/ 53520 w 951344"/>
                    <a:gd name="connsiteY46" fmla="*/ 313269 h 458787"/>
                    <a:gd name="connsiteX47" fmla="*/ 148191 w 951344"/>
                    <a:gd name="connsiteY47" fmla="*/ 296862 h 458787"/>
                    <a:gd name="connsiteX48" fmla="*/ 731260 w 951344"/>
                    <a:gd name="connsiteY48" fmla="*/ 0 h 458787"/>
                    <a:gd name="connsiteX49" fmla="*/ 851910 w 951344"/>
                    <a:gd name="connsiteY49" fmla="*/ 123188 h 458787"/>
                    <a:gd name="connsiteX50" fmla="*/ 849055 w 951344"/>
                    <a:gd name="connsiteY50" fmla="*/ 142414 h 458787"/>
                    <a:gd name="connsiteX51" fmla="*/ 848341 w 951344"/>
                    <a:gd name="connsiteY51" fmla="*/ 143838 h 458787"/>
                    <a:gd name="connsiteX52" fmla="*/ 842629 w 951344"/>
                    <a:gd name="connsiteY52" fmla="*/ 161640 h 458787"/>
                    <a:gd name="connsiteX53" fmla="*/ 842629 w 951344"/>
                    <a:gd name="connsiteY53" fmla="*/ 162352 h 458787"/>
                    <a:gd name="connsiteX54" fmla="*/ 838346 w 951344"/>
                    <a:gd name="connsiteY54" fmla="*/ 171609 h 458787"/>
                    <a:gd name="connsiteX55" fmla="*/ 826210 w 951344"/>
                    <a:gd name="connsiteY55" fmla="*/ 192971 h 458787"/>
                    <a:gd name="connsiteX56" fmla="*/ 806220 w 951344"/>
                    <a:gd name="connsiteY56" fmla="*/ 216470 h 458787"/>
                    <a:gd name="connsiteX57" fmla="*/ 796940 w 951344"/>
                    <a:gd name="connsiteY57" fmla="*/ 238544 h 458787"/>
                    <a:gd name="connsiteX58" fmla="*/ 791228 w 951344"/>
                    <a:gd name="connsiteY58" fmla="*/ 244952 h 458787"/>
                    <a:gd name="connsiteX59" fmla="*/ 770525 w 951344"/>
                    <a:gd name="connsiteY59" fmla="*/ 258482 h 458787"/>
                    <a:gd name="connsiteX60" fmla="*/ 731260 w 951344"/>
                    <a:gd name="connsiteY60" fmla="*/ 269875 h 458787"/>
                    <a:gd name="connsiteX61" fmla="*/ 691995 w 951344"/>
                    <a:gd name="connsiteY61" fmla="*/ 257770 h 458787"/>
                    <a:gd name="connsiteX62" fmla="*/ 671292 w 951344"/>
                    <a:gd name="connsiteY62" fmla="*/ 244240 h 458787"/>
                    <a:gd name="connsiteX63" fmla="*/ 665581 w 951344"/>
                    <a:gd name="connsiteY63" fmla="*/ 238544 h 458787"/>
                    <a:gd name="connsiteX64" fmla="*/ 656300 w 951344"/>
                    <a:gd name="connsiteY64" fmla="*/ 216470 h 458787"/>
                    <a:gd name="connsiteX65" fmla="*/ 637025 w 951344"/>
                    <a:gd name="connsiteY65" fmla="*/ 192971 h 458787"/>
                    <a:gd name="connsiteX66" fmla="*/ 624174 w 951344"/>
                    <a:gd name="connsiteY66" fmla="*/ 171609 h 458787"/>
                    <a:gd name="connsiteX67" fmla="*/ 619177 w 951344"/>
                    <a:gd name="connsiteY67" fmla="*/ 159504 h 458787"/>
                    <a:gd name="connsiteX68" fmla="*/ 619177 w 951344"/>
                    <a:gd name="connsiteY68" fmla="*/ 158080 h 458787"/>
                    <a:gd name="connsiteX69" fmla="*/ 610610 w 951344"/>
                    <a:gd name="connsiteY69" fmla="*/ 123188 h 458787"/>
                    <a:gd name="connsiteX70" fmla="*/ 731260 w 951344"/>
                    <a:gd name="connsiteY70" fmla="*/ 0 h 458787"/>
                    <a:gd name="connsiteX71" fmla="*/ 220085 w 951344"/>
                    <a:gd name="connsiteY71" fmla="*/ 0 h 458787"/>
                    <a:gd name="connsiteX72" fmla="*/ 340735 w 951344"/>
                    <a:gd name="connsiteY72" fmla="*/ 123188 h 458787"/>
                    <a:gd name="connsiteX73" fmla="*/ 331454 w 951344"/>
                    <a:gd name="connsiteY73" fmla="*/ 161640 h 458787"/>
                    <a:gd name="connsiteX74" fmla="*/ 331454 w 951344"/>
                    <a:gd name="connsiteY74" fmla="*/ 162352 h 458787"/>
                    <a:gd name="connsiteX75" fmla="*/ 327171 w 951344"/>
                    <a:gd name="connsiteY75" fmla="*/ 171609 h 458787"/>
                    <a:gd name="connsiteX76" fmla="*/ 315034 w 951344"/>
                    <a:gd name="connsiteY76" fmla="*/ 192971 h 458787"/>
                    <a:gd name="connsiteX77" fmla="*/ 295045 w 951344"/>
                    <a:gd name="connsiteY77" fmla="*/ 216470 h 458787"/>
                    <a:gd name="connsiteX78" fmla="*/ 285764 w 951344"/>
                    <a:gd name="connsiteY78" fmla="*/ 238544 h 458787"/>
                    <a:gd name="connsiteX79" fmla="*/ 279339 w 951344"/>
                    <a:gd name="connsiteY79" fmla="*/ 244952 h 458787"/>
                    <a:gd name="connsiteX80" fmla="*/ 259350 w 951344"/>
                    <a:gd name="connsiteY80" fmla="*/ 258482 h 458787"/>
                    <a:gd name="connsiteX81" fmla="*/ 220085 w 951344"/>
                    <a:gd name="connsiteY81" fmla="*/ 269875 h 458787"/>
                    <a:gd name="connsiteX82" fmla="*/ 180106 w 951344"/>
                    <a:gd name="connsiteY82" fmla="*/ 257770 h 458787"/>
                    <a:gd name="connsiteX83" fmla="*/ 159403 w 951344"/>
                    <a:gd name="connsiteY83" fmla="*/ 244240 h 458787"/>
                    <a:gd name="connsiteX84" fmla="*/ 154405 w 951344"/>
                    <a:gd name="connsiteY84" fmla="*/ 238544 h 458787"/>
                    <a:gd name="connsiteX85" fmla="*/ 145125 w 951344"/>
                    <a:gd name="connsiteY85" fmla="*/ 216470 h 458787"/>
                    <a:gd name="connsiteX86" fmla="*/ 125849 w 951344"/>
                    <a:gd name="connsiteY86" fmla="*/ 192971 h 458787"/>
                    <a:gd name="connsiteX87" fmla="*/ 112999 w 951344"/>
                    <a:gd name="connsiteY87" fmla="*/ 171609 h 458787"/>
                    <a:gd name="connsiteX88" fmla="*/ 108002 w 951344"/>
                    <a:gd name="connsiteY88" fmla="*/ 159504 h 458787"/>
                    <a:gd name="connsiteX89" fmla="*/ 107288 w 951344"/>
                    <a:gd name="connsiteY89" fmla="*/ 158080 h 458787"/>
                    <a:gd name="connsiteX90" fmla="*/ 99435 w 951344"/>
                    <a:gd name="connsiteY90" fmla="*/ 123188 h 458787"/>
                    <a:gd name="connsiteX91" fmla="*/ 220085 w 951344"/>
                    <a:gd name="connsiteY91" fmla="*/ 0 h 45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951344" h="458787">
                      <a:moveTo>
                        <a:pt x="660078" y="296862"/>
                      </a:moveTo>
                      <a:cubicBezTo>
                        <a:pt x="660078" y="296862"/>
                        <a:pt x="670756" y="306849"/>
                        <a:pt x="691398" y="313982"/>
                      </a:cubicBezTo>
                      <a:cubicBezTo>
                        <a:pt x="696381" y="315409"/>
                        <a:pt x="702787" y="316835"/>
                        <a:pt x="709193" y="318262"/>
                      </a:cubicBezTo>
                      <a:cubicBezTo>
                        <a:pt x="716312" y="318975"/>
                        <a:pt x="723430" y="319689"/>
                        <a:pt x="731260" y="319689"/>
                      </a:cubicBezTo>
                      <a:cubicBezTo>
                        <a:pt x="739090" y="319689"/>
                        <a:pt x="746920" y="318975"/>
                        <a:pt x="753326" y="318262"/>
                      </a:cubicBezTo>
                      <a:cubicBezTo>
                        <a:pt x="759732" y="316835"/>
                        <a:pt x="766139" y="315409"/>
                        <a:pt x="771121" y="313982"/>
                      </a:cubicBezTo>
                      <a:cubicBezTo>
                        <a:pt x="792476" y="306849"/>
                        <a:pt x="803153" y="296862"/>
                        <a:pt x="803153" y="296862"/>
                      </a:cubicBezTo>
                      <a:cubicBezTo>
                        <a:pt x="803153" y="296862"/>
                        <a:pt x="864369" y="297575"/>
                        <a:pt x="897824" y="313269"/>
                      </a:cubicBezTo>
                      <a:cubicBezTo>
                        <a:pt x="901383" y="314695"/>
                        <a:pt x="904231" y="318262"/>
                        <a:pt x="907790" y="322542"/>
                      </a:cubicBezTo>
                      <a:cubicBezTo>
                        <a:pt x="910637" y="326822"/>
                        <a:pt x="913484" y="331815"/>
                        <a:pt x="916332" y="337522"/>
                      </a:cubicBezTo>
                      <a:cubicBezTo>
                        <a:pt x="918467" y="342515"/>
                        <a:pt x="921314" y="348222"/>
                        <a:pt x="923450" y="353928"/>
                      </a:cubicBezTo>
                      <a:cubicBezTo>
                        <a:pt x="923450" y="354642"/>
                        <a:pt x="923450" y="355355"/>
                        <a:pt x="923450" y="355355"/>
                      </a:cubicBezTo>
                      <a:cubicBezTo>
                        <a:pt x="927721" y="365341"/>
                        <a:pt x="930568" y="376041"/>
                        <a:pt x="934127" y="386741"/>
                      </a:cubicBezTo>
                      <a:cubicBezTo>
                        <a:pt x="941957" y="415274"/>
                        <a:pt x="947651" y="443094"/>
                        <a:pt x="951210" y="451654"/>
                      </a:cubicBezTo>
                      <a:cubicBezTo>
                        <a:pt x="951922" y="455221"/>
                        <a:pt x="949787" y="458787"/>
                        <a:pt x="945516" y="458787"/>
                      </a:cubicBezTo>
                      <a:cubicBezTo>
                        <a:pt x="945516" y="458787"/>
                        <a:pt x="945516" y="458787"/>
                        <a:pt x="517004" y="458787"/>
                      </a:cubicBezTo>
                      <a:cubicBezTo>
                        <a:pt x="513445" y="458787"/>
                        <a:pt x="510597" y="455221"/>
                        <a:pt x="512021" y="451654"/>
                      </a:cubicBezTo>
                      <a:cubicBezTo>
                        <a:pt x="514868" y="443094"/>
                        <a:pt x="520563" y="415274"/>
                        <a:pt x="529104" y="386741"/>
                      </a:cubicBezTo>
                      <a:cubicBezTo>
                        <a:pt x="531952" y="376041"/>
                        <a:pt x="535511" y="365341"/>
                        <a:pt x="539070" y="355355"/>
                      </a:cubicBezTo>
                      <a:cubicBezTo>
                        <a:pt x="539070" y="355355"/>
                        <a:pt x="539070" y="354642"/>
                        <a:pt x="539782" y="353928"/>
                      </a:cubicBezTo>
                      <a:cubicBezTo>
                        <a:pt x="541917" y="348222"/>
                        <a:pt x="544053" y="342515"/>
                        <a:pt x="546188" y="337522"/>
                      </a:cubicBezTo>
                      <a:cubicBezTo>
                        <a:pt x="549035" y="331815"/>
                        <a:pt x="551882" y="326822"/>
                        <a:pt x="554730" y="322542"/>
                      </a:cubicBezTo>
                      <a:cubicBezTo>
                        <a:pt x="558289" y="318262"/>
                        <a:pt x="561848" y="314695"/>
                        <a:pt x="565407" y="313269"/>
                      </a:cubicBezTo>
                      <a:cubicBezTo>
                        <a:pt x="598150" y="297575"/>
                        <a:pt x="660078" y="296862"/>
                        <a:pt x="660078" y="296862"/>
                      </a:cubicBezTo>
                      <a:close/>
                      <a:moveTo>
                        <a:pt x="148191" y="296862"/>
                      </a:moveTo>
                      <a:cubicBezTo>
                        <a:pt x="148191" y="296862"/>
                        <a:pt x="158868" y="306849"/>
                        <a:pt x="178799" y="313269"/>
                      </a:cubicBezTo>
                      <a:cubicBezTo>
                        <a:pt x="184494" y="315409"/>
                        <a:pt x="190900" y="316835"/>
                        <a:pt x="198018" y="318262"/>
                      </a:cubicBezTo>
                      <a:cubicBezTo>
                        <a:pt x="204424" y="318975"/>
                        <a:pt x="212254" y="319689"/>
                        <a:pt x="220084" y="319689"/>
                      </a:cubicBezTo>
                      <a:cubicBezTo>
                        <a:pt x="227914" y="319689"/>
                        <a:pt x="235032" y="318975"/>
                        <a:pt x="242151" y="318262"/>
                      </a:cubicBezTo>
                      <a:cubicBezTo>
                        <a:pt x="248557" y="316835"/>
                        <a:pt x="254963" y="315409"/>
                        <a:pt x="259946" y="313982"/>
                      </a:cubicBezTo>
                      <a:cubicBezTo>
                        <a:pt x="280588" y="306849"/>
                        <a:pt x="291266" y="296862"/>
                        <a:pt x="291266" y="296862"/>
                      </a:cubicBezTo>
                      <a:cubicBezTo>
                        <a:pt x="291266" y="296862"/>
                        <a:pt x="353194" y="297575"/>
                        <a:pt x="385937" y="313269"/>
                      </a:cubicBezTo>
                      <a:cubicBezTo>
                        <a:pt x="389496" y="314695"/>
                        <a:pt x="393055" y="318262"/>
                        <a:pt x="396614" y="322542"/>
                      </a:cubicBezTo>
                      <a:cubicBezTo>
                        <a:pt x="399462" y="326822"/>
                        <a:pt x="402309" y="331815"/>
                        <a:pt x="405156" y="337522"/>
                      </a:cubicBezTo>
                      <a:cubicBezTo>
                        <a:pt x="407291" y="342515"/>
                        <a:pt x="409427" y="348222"/>
                        <a:pt x="411562" y="353928"/>
                      </a:cubicBezTo>
                      <a:cubicBezTo>
                        <a:pt x="412274" y="354642"/>
                        <a:pt x="412274" y="355355"/>
                        <a:pt x="412274" y="355355"/>
                      </a:cubicBezTo>
                      <a:cubicBezTo>
                        <a:pt x="415833" y="365341"/>
                        <a:pt x="419392" y="376041"/>
                        <a:pt x="422240" y="386741"/>
                      </a:cubicBezTo>
                      <a:cubicBezTo>
                        <a:pt x="430781" y="415274"/>
                        <a:pt x="436476" y="443094"/>
                        <a:pt x="439323" y="451654"/>
                      </a:cubicBezTo>
                      <a:cubicBezTo>
                        <a:pt x="440747" y="455221"/>
                        <a:pt x="437900" y="458787"/>
                        <a:pt x="434340" y="458787"/>
                      </a:cubicBezTo>
                      <a:cubicBezTo>
                        <a:pt x="434340" y="458787"/>
                        <a:pt x="434340" y="458787"/>
                        <a:pt x="5828" y="458787"/>
                      </a:cubicBezTo>
                      <a:cubicBezTo>
                        <a:pt x="1557" y="458787"/>
                        <a:pt x="-578" y="455221"/>
                        <a:pt x="134" y="451654"/>
                      </a:cubicBezTo>
                      <a:cubicBezTo>
                        <a:pt x="3693" y="443094"/>
                        <a:pt x="9387" y="415274"/>
                        <a:pt x="17217" y="386741"/>
                      </a:cubicBezTo>
                      <a:cubicBezTo>
                        <a:pt x="20776" y="376041"/>
                        <a:pt x="23623" y="365341"/>
                        <a:pt x="27894" y="355355"/>
                      </a:cubicBezTo>
                      <a:cubicBezTo>
                        <a:pt x="27894" y="355355"/>
                        <a:pt x="27894" y="354642"/>
                        <a:pt x="27894" y="353928"/>
                      </a:cubicBezTo>
                      <a:cubicBezTo>
                        <a:pt x="30030" y="349648"/>
                        <a:pt x="31453" y="345368"/>
                        <a:pt x="33589" y="341088"/>
                      </a:cubicBezTo>
                      <a:cubicBezTo>
                        <a:pt x="36436" y="333955"/>
                        <a:pt x="39995" y="327535"/>
                        <a:pt x="43554" y="322542"/>
                      </a:cubicBezTo>
                      <a:cubicBezTo>
                        <a:pt x="47113" y="318262"/>
                        <a:pt x="49961" y="314695"/>
                        <a:pt x="53520" y="313269"/>
                      </a:cubicBezTo>
                      <a:cubicBezTo>
                        <a:pt x="86975" y="297575"/>
                        <a:pt x="148191" y="296862"/>
                        <a:pt x="148191" y="296862"/>
                      </a:cubicBezTo>
                      <a:close/>
                      <a:moveTo>
                        <a:pt x="731260" y="0"/>
                      </a:moveTo>
                      <a:cubicBezTo>
                        <a:pt x="799795" y="0"/>
                        <a:pt x="851910" y="55541"/>
                        <a:pt x="851910" y="123188"/>
                      </a:cubicBezTo>
                      <a:cubicBezTo>
                        <a:pt x="851910" y="129597"/>
                        <a:pt x="850482" y="136005"/>
                        <a:pt x="849055" y="142414"/>
                      </a:cubicBezTo>
                      <a:cubicBezTo>
                        <a:pt x="849055" y="143126"/>
                        <a:pt x="848341" y="143126"/>
                        <a:pt x="848341" y="143838"/>
                      </a:cubicBezTo>
                      <a:cubicBezTo>
                        <a:pt x="846913" y="150247"/>
                        <a:pt x="844771" y="155943"/>
                        <a:pt x="842629" y="161640"/>
                      </a:cubicBezTo>
                      <a:cubicBezTo>
                        <a:pt x="842629" y="161640"/>
                        <a:pt x="842629" y="161640"/>
                        <a:pt x="842629" y="162352"/>
                      </a:cubicBezTo>
                      <a:cubicBezTo>
                        <a:pt x="842629" y="163776"/>
                        <a:pt x="841202" y="167337"/>
                        <a:pt x="838346" y="171609"/>
                      </a:cubicBezTo>
                      <a:cubicBezTo>
                        <a:pt x="835490" y="178018"/>
                        <a:pt x="831207" y="185850"/>
                        <a:pt x="826210" y="192971"/>
                      </a:cubicBezTo>
                      <a:cubicBezTo>
                        <a:pt x="819785" y="202940"/>
                        <a:pt x="811932" y="212197"/>
                        <a:pt x="806220" y="216470"/>
                      </a:cubicBezTo>
                      <a:cubicBezTo>
                        <a:pt x="799081" y="234983"/>
                        <a:pt x="803365" y="227863"/>
                        <a:pt x="796940" y="238544"/>
                      </a:cubicBezTo>
                      <a:cubicBezTo>
                        <a:pt x="795512" y="240680"/>
                        <a:pt x="793370" y="242816"/>
                        <a:pt x="791228" y="244952"/>
                      </a:cubicBezTo>
                      <a:cubicBezTo>
                        <a:pt x="786231" y="249225"/>
                        <a:pt x="779092" y="254209"/>
                        <a:pt x="770525" y="258482"/>
                      </a:cubicBezTo>
                      <a:cubicBezTo>
                        <a:pt x="757675" y="264890"/>
                        <a:pt x="742683" y="269875"/>
                        <a:pt x="731260" y="269875"/>
                      </a:cubicBezTo>
                      <a:cubicBezTo>
                        <a:pt x="719838" y="269875"/>
                        <a:pt x="704846" y="264178"/>
                        <a:pt x="691995" y="257770"/>
                      </a:cubicBezTo>
                      <a:cubicBezTo>
                        <a:pt x="683429" y="253497"/>
                        <a:pt x="676290" y="248513"/>
                        <a:pt x="671292" y="244240"/>
                      </a:cubicBezTo>
                      <a:cubicBezTo>
                        <a:pt x="669150" y="242104"/>
                        <a:pt x="667009" y="239968"/>
                        <a:pt x="665581" y="238544"/>
                      </a:cubicBezTo>
                      <a:cubicBezTo>
                        <a:pt x="659870" y="229999"/>
                        <a:pt x="663439" y="234983"/>
                        <a:pt x="656300" y="216470"/>
                      </a:cubicBezTo>
                      <a:cubicBezTo>
                        <a:pt x="652017" y="213621"/>
                        <a:pt x="644164" y="203652"/>
                        <a:pt x="637025" y="192971"/>
                      </a:cubicBezTo>
                      <a:cubicBezTo>
                        <a:pt x="632027" y="185850"/>
                        <a:pt x="627744" y="178730"/>
                        <a:pt x="624174" y="171609"/>
                      </a:cubicBezTo>
                      <a:cubicBezTo>
                        <a:pt x="621319" y="166625"/>
                        <a:pt x="619177" y="162352"/>
                        <a:pt x="619177" y="159504"/>
                      </a:cubicBezTo>
                      <a:cubicBezTo>
                        <a:pt x="619177" y="158792"/>
                        <a:pt x="619177" y="158792"/>
                        <a:pt x="619177" y="158080"/>
                      </a:cubicBezTo>
                      <a:cubicBezTo>
                        <a:pt x="616321" y="147399"/>
                        <a:pt x="610610" y="135293"/>
                        <a:pt x="610610" y="123188"/>
                      </a:cubicBezTo>
                      <a:cubicBezTo>
                        <a:pt x="610610" y="55541"/>
                        <a:pt x="663439" y="0"/>
                        <a:pt x="731260" y="0"/>
                      </a:cubicBezTo>
                      <a:close/>
                      <a:moveTo>
                        <a:pt x="220085" y="0"/>
                      </a:moveTo>
                      <a:cubicBezTo>
                        <a:pt x="287906" y="0"/>
                        <a:pt x="340735" y="55541"/>
                        <a:pt x="340735" y="123188"/>
                      </a:cubicBezTo>
                      <a:cubicBezTo>
                        <a:pt x="340735" y="136718"/>
                        <a:pt x="335024" y="149535"/>
                        <a:pt x="331454" y="161640"/>
                      </a:cubicBezTo>
                      <a:cubicBezTo>
                        <a:pt x="331454" y="161640"/>
                        <a:pt x="331454" y="161640"/>
                        <a:pt x="331454" y="162352"/>
                      </a:cubicBezTo>
                      <a:cubicBezTo>
                        <a:pt x="331454" y="163776"/>
                        <a:pt x="330026" y="167337"/>
                        <a:pt x="327171" y="171609"/>
                      </a:cubicBezTo>
                      <a:cubicBezTo>
                        <a:pt x="324315" y="178018"/>
                        <a:pt x="320032" y="185850"/>
                        <a:pt x="315034" y="192971"/>
                      </a:cubicBezTo>
                      <a:cubicBezTo>
                        <a:pt x="307895" y="202940"/>
                        <a:pt x="300756" y="212197"/>
                        <a:pt x="295045" y="216470"/>
                      </a:cubicBezTo>
                      <a:cubicBezTo>
                        <a:pt x="287192" y="234983"/>
                        <a:pt x="291475" y="227863"/>
                        <a:pt x="285764" y="238544"/>
                      </a:cubicBezTo>
                      <a:cubicBezTo>
                        <a:pt x="284336" y="240680"/>
                        <a:pt x="282195" y="242816"/>
                        <a:pt x="279339" y="244952"/>
                      </a:cubicBezTo>
                      <a:cubicBezTo>
                        <a:pt x="274342" y="249225"/>
                        <a:pt x="267203" y="254209"/>
                        <a:pt x="259350" y="258482"/>
                      </a:cubicBezTo>
                      <a:cubicBezTo>
                        <a:pt x="246499" y="264890"/>
                        <a:pt x="231507" y="269875"/>
                        <a:pt x="220085" y="269875"/>
                      </a:cubicBezTo>
                      <a:cubicBezTo>
                        <a:pt x="207948" y="269875"/>
                        <a:pt x="192956" y="264178"/>
                        <a:pt x="180106" y="257770"/>
                      </a:cubicBezTo>
                      <a:cubicBezTo>
                        <a:pt x="172253" y="253497"/>
                        <a:pt x="164400" y="248513"/>
                        <a:pt x="159403" y="244240"/>
                      </a:cubicBezTo>
                      <a:cubicBezTo>
                        <a:pt x="157261" y="242104"/>
                        <a:pt x="155833" y="239968"/>
                        <a:pt x="154405" y="238544"/>
                      </a:cubicBezTo>
                      <a:cubicBezTo>
                        <a:pt x="148694" y="229999"/>
                        <a:pt x="152264" y="234983"/>
                        <a:pt x="145125" y="216470"/>
                      </a:cubicBezTo>
                      <a:cubicBezTo>
                        <a:pt x="140841" y="213621"/>
                        <a:pt x="132988" y="203652"/>
                        <a:pt x="125849" y="192971"/>
                      </a:cubicBezTo>
                      <a:cubicBezTo>
                        <a:pt x="120852" y="185850"/>
                        <a:pt x="115855" y="178730"/>
                        <a:pt x="112999" y="171609"/>
                      </a:cubicBezTo>
                      <a:cubicBezTo>
                        <a:pt x="110143" y="166625"/>
                        <a:pt x="108002" y="162352"/>
                        <a:pt x="108002" y="159504"/>
                      </a:cubicBezTo>
                      <a:cubicBezTo>
                        <a:pt x="107288" y="158792"/>
                        <a:pt x="108002" y="158792"/>
                        <a:pt x="107288" y="158080"/>
                      </a:cubicBezTo>
                      <a:cubicBezTo>
                        <a:pt x="105146" y="147399"/>
                        <a:pt x="99435" y="135293"/>
                        <a:pt x="99435" y="123188"/>
                      </a:cubicBezTo>
                      <a:cubicBezTo>
                        <a:pt x="99435" y="55541"/>
                        <a:pt x="151550" y="0"/>
                        <a:pt x="22008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ym typeface="+mn-lt"/>
                  </a:endParaRPr>
                </a:p>
              </p:txBody>
            </p:sp>
          </p:grpSp>
        </p:grpSp>
      </p:grpSp>
      <p:sp>
        <p:nvSpPr>
          <p:cNvPr id="76" name="Oval 20">
            <a:extLst>
              <a:ext uri="{FF2B5EF4-FFF2-40B4-BE49-F238E27FC236}">
                <a16:creationId xmlns:a16="http://schemas.microsoft.com/office/drawing/2014/main" id="{CBC6DC39-107A-440B-99FE-02B33F2A02EC}"/>
              </a:ext>
            </a:extLst>
          </p:cNvPr>
          <p:cNvSpPr>
            <a:spLocks noChangeAspect="1" noChangeArrowheads="1"/>
          </p:cNvSpPr>
          <p:nvPr/>
        </p:nvSpPr>
        <p:spPr bwMode="auto">
          <a:xfrm>
            <a:off x="4575171" y="3458770"/>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sym typeface="+mn-lt"/>
              </a:rPr>
              <a:t>2</a:t>
            </a:r>
          </a:p>
        </p:txBody>
      </p:sp>
    </p:spTree>
    <p:extLst>
      <p:ext uri="{BB962C8B-B14F-4D97-AF65-F5344CB8AC3E}">
        <p14:creationId xmlns:p14="http://schemas.microsoft.com/office/powerpoint/2010/main" val="2262547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6EF5EF-5BFA-49C0-A36F-3059195094BD}"/>
              </a:ext>
            </a:extLst>
          </p:cNvPr>
          <p:cNvGraphicFramePr>
            <a:graphicFrameLocks noChangeAspect="1"/>
          </p:cNvGraphicFramePr>
          <p:nvPr>
            <p:custDataLst>
              <p:tags r:id="rId1"/>
            </p:custDataLst>
            <p:extLst>
              <p:ext uri="{D42A27DB-BD31-4B8C-83A1-F6EECF244321}">
                <p14:modId xmlns:p14="http://schemas.microsoft.com/office/powerpoint/2010/main" val="1296589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0" imgH="469" progId="TCLayout.ActiveDocument.1">
                  <p:embed/>
                </p:oleObj>
              </mc:Choice>
              <mc:Fallback>
                <p:oleObj name="think-cell Slide" r:id="rId8" imgW="470" imgH="469" progId="TCLayout.ActiveDocument.1">
                  <p:embed/>
                  <p:pic>
                    <p:nvPicPr>
                      <p:cNvPr id="4" name="Object 3" hidden="1">
                        <a:extLst>
                          <a:ext uri="{FF2B5EF4-FFF2-40B4-BE49-F238E27FC236}">
                            <a16:creationId xmlns:a16="http://schemas.microsoft.com/office/drawing/2014/main" id="{996EF5EF-5BFA-49C0-A36F-3059195094B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4C625737-2780-49C6-A04D-A307F8125D62}"/>
              </a:ext>
            </a:extLst>
          </p:cNvPr>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a:extLst>
              <a:ext uri="{FF2B5EF4-FFF2-40B4-BE49-F238E27FC236}">
                <a16:creationId xmlns:a16="http://schemas.microsoft.com/office/drawing/2014/main" id="{AEAE0B02-5636-43BA-AED9-D67DB9C22A9E}"/>
              </a:ext>
            </a:extLst>
          </p:cNvPr>
          <p:cNvSpPr>
            <a:spLocks noGrp="1"/>
          </p:cNvSpPr>
          <p:nvPr>
            <p:ph type="title"/>
          </p:nvPr>
        </p:nvSpPr>
        <p:spPr>
          <a:xfrm>
            <a:off x="990770" y="1210309"/>
            <a:ext cx="2490328" cy="973681"/>
          </a:xfrm>
        </p:spPr>
        <p:txBody>
          <a:bodyPr vert="horz" wrap="square" anchor="t">
            <a:noAutofit/>
          </a:bodyPr>
          <a:lstStyle/>
          <a:p>
            <a:r>
              <a:rPr lang="en-US" sz="3200" dirty="0"/>
              <a:t>Analytics Objectives</a:t>
            </a:r>
            <a:endParaRPr lang="en-US" sz="3200" dirty="0">
              <a:sym typeface="+mj-lt"/>
            </a:endParaRPr>
          </a:p>
        </p:txBody>
      </p:sp>
      <p:sp>
        <p:nvSpPr>
          <p:cNvPr id="6" name="Rectangle 5">
            <a:extLst>
              <a:ext uri="{FF2B5EF4-FFF2-40B4-BE49-F238E27FC236}">
                <a16:creationId xmlns:a16="http://schemas.microsoft.com/office/drawing/2014/main" id="{9913B22B-BDE9-4F9E-834F-F78727E36D8B}"/>
              </a:ext>
            </a:extLst>
          </p:cNvPr>
          <p:cNvSpPr/>
          <p:nvPr/>
        </p:nvSpPr>
        <p:spPr>
          <a:xfrm flipH="1">
            <a:off x="3909059" y="1233771"/>
            <a:ext cx="182880" cy="822960"/>
          </a:xfrm>
          <a:prstGeom prst="rect">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36" name="Rectangle 35">
            <a:extLst>
              <a:ext uri="{FF2B5EF4-FFF2-40B4-BE49-F238E27FC236}">
                <a16:creationId xmlns:a16="http://schemas.microsoft.com/office/drawing/2014/main" id="{CD46474D-F15A-4D1B-9E44-C265DCCB06B4}"/>
              </a:ext>
            </a:extLst>
          </p:cNvPr>
          <p:cNvSpPr/>
          <p:nvPr>
            <p:custDataLst>
              <p:tags r:id="rId3"/>
            </p:custDataLst>
          </p:nvPr>
        </p:nvSpPr>
        <p:spPr>
          <a:xfrm>
            <a:off x="6274871" y="1356581"/>
            <a:ext cx="5192591" cy="830997"/>
          </a:xfrm>
          <a:prstGeom prst="rect">
            <a:avLst/>
          </a:prstGeom>
          <a:noFill/>
          <a:ln w="9525">
            <a:noFill/>
            <a:prstDash val="solid"/>
          </a:ln>
          <a:effectLst/>
          <a:scene3d>
            <a:camera prst="orthographicFront"/>
            <a:lightRig rig="threePt" dir="t"/>
          </a:scene3d>
          <a:sp3d>
            <a:bevelT w="0" h="63500"/>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buSzPct val="100000"/>
              <a:buFont typeface="Trebuchet MS" panose="020B0603020202020204" pitchFamily="34" charset="0"/>
              <a:buChar char="​"/>
            </a:pPr>
            <a:r>
              <a:rPr lang="en-SG" dirty="0">
                <a:solidFill>
                  <a:schemeClr val="tx1">
                    <a:lumMod val="100000"/>
                  </a:schemeClr>
                </a:solidFill>
                <a:latin typeface="Trebuchet MS" panose="020B0603020202020204" pitchFamily="34" charset="0"/>
                <a:sym typeface="+mn-lt"/>
              </a:rPr>
              <a:t>Build a vessel supply model to predict availability of vessels at various load ports 30-45 days in advance</a:t>
            </a:r>
            <a:endParaRPr lang="en-US" dirty="0">
              <a:solidFill>
                <a:schemeClr val="tx1">
                  <a:lumMod val="100000"/>
                </a:schemeClr>
              </a:solidFill>
              <a:latin typeface="Trebuchet MS" panose="020B0603020202020204" pitchFamily="34" charset="0"/>
              <a:sym typeface="+mn-lt"/>
            </a:endParaRPr>
          </a:p>
        </p:txBody>
      </p:sp>
      <p:grpSp>
        <p:nvGrpSpPr>
          <p:cNvPr id="5" name="Group 4">
            <a:extLst>
              <a:ext uri="{FF2B5EF4-FFF2-40B4-BE49-F238E27FC236}">
                <a16:creationId xmlns:a16="http://schemas.microsoft.com/office/drawing/2014/main" id="{ED3B7123-259F-4B32-B594-AFA474545685}"/>
              </a:ext>
            </a:extLst>
          </p:cNvPr>
          <p:cNvGrpSpPr/>
          <p:nvPr/>
        </p:nvGrpSpPr>
        <p:grpSpPr>
          <a:xfrm>
            <a:off x="4770291" y="1233771"/>
            <a:ext cx="1076619" cy="1076619"/>
            <a:chOff x="4700067" y="777307"/>
            <a:chExt cx="1217066" cy="1217066"/>
          </a:xfrm>
        </p:grpSpPr>
        <p:sp>
          <p:nvSpPr>
            <p:cNvPr id="8" name="Oval 7">
              <a:extLst>
                <a:ext uri="{FF2B5EF4-FFF2-40B4-BE49-F238E27FC236}">
                  <a16:creationId xmlns:a16="http://schemas.microsoft.com/office/drawing/2014/main" id="{899FEFB2-2C5B-4F43-8D24-A2916D7E3C09}"/>
                </a:ext>
              </a:extLst>
            </p:cNvPr>
            <p:cNvSpPr/>
            <p:nvPr/>
          </p:nvSpPr>
          <p:spPr>
            <a:xfrm>
              <a:off x="4700067" y="777307"/>
              <a:ext cx="1217066" cy="1217066"/>
            </a:xfrm>
            <a:prstGeom prst="ellipse">
              <a:avLst/>
            </a:prstGeom>
            <a:grpFill/>
            <a:ln w="38100">
              <a:gradFill flip="none" rotWithShape="1">
                <a:gsLst>
                  <a:gs pos="100000">
                    <a:schemeClr val="accent2"/>
                  </a:gs>
                  <a:gs pos="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sym typeface="+mn-lt"/>
              </a:endParaRPr>
            </a:p>
          </p:txBody>
        </p:sp>
        <p:sp>
          <p:nvSpPr>
            <p:cNvPr id="13" name="AutoShape 23">
              <a:extLst>
                <a:ext uri="{FF2B5EF4-FFF2-40B4-BE49-F238E27FC236}">
                  <a16:creationId xmlns:a16="http://schemas.microsoft.com/office/drawing/2014/main" id="{73295759-3926-493E-8E80-A6E5814FD8C9}"/>
                </a:ext>
              </a:extLst>
            </p:cNvPr>
            <p:cNvSpPr>
              <a:spLocks noChangeAspect="1" noChangeArrowheads="1" noTextEdit="1"/>
            </p:cNvSpPr>
            <p:nvPr/>
          </p:nvSpPr>
          <p:spPr bwMode="auto">
            <a:xfrm>
              <a:off x="4835551" y="912353"/>
              <a:ext cx="946098" cy="946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mn-lt"/>
              </a:endParaRPr>
            </a:p>
          </p:txBody>
        </p:sp>
      </p:grpSp>
      <p:sp>
        <p:nvSpPr>
          <p:cNvPr id="75" name="Oval 20">
            <a:extLst>
              <a:ext uri="{FF2B5EF4-FFF2-40B4-BE49-F238E27FC236}">
                <a16:creationId xmlns:a16="http://schemas.microsoft.com/office/drawing/2014/main" id="{F75AADC5-AFAD-48EA-966E-CC513CC1B00D}"/>
              </a:ext>
            </a:extLst>
          </p:cNvPr>
          <p:cNvSpPr>
            <a:spLocks noChangeAspect="1" noChangeArrowheads="1"/>
          </p:cNvSpPr>
          <p:nvPr/>
        </p:nvSpPr>
        <p:spPr bwMode="auto">
          <a:xfrm>
            <a:off x="4565646" y="1618626"/>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sym typeface="+mn-lt"/>
              </a:rPr>
              <a:t>1</a:t>
            </a:r>
          </a:p>
        </p:txBody>
      </p:sp>
      <p:sp>
        <p:nvSpPr>
          <p:cNvPr id="37" name="Rectangle 36">
            <a:extLst>
              <a:ext uri="{FF2B5EF4-FFF2-40B4-BE49-F238E27FC236}">
                <a16:creationId xmlns:a16="http://schemas.microsoft.com/office/drawing/2014/main" id="{061D488C-79C7-4C43-BF75-B92134BE59D1}"/>
              </a:ext>
            </a:extLst>
          </p:cNvPr>
          <p:cNvSpPr/>
          <p:nvPr>
            <p:custDataLst>
              <p:tags r:id="rId4"/>
            </p:custDataLst>
          </p:nvPr>
        </p:nvSpPr>
        <p:spPr>
          <a:xfrm>
            <a:off x="6284396" y="3180336"/>
            <a:ext cx="5192591" cy="830997"/>
          </a:xfrm>
          <a:prstGeom prst="rect">
            <a:avLst/>
          </a:prstGeom>
          <a:noFill/>
          <a:ln w="9525">
            <a:noFill/>
            <a:prstDash val="solid"/>
          </a:ln>
          <a:effectLst/>
          <a:scene3d>
            <a:camera prst="orthographicFront"/>
            <a:lightRig rig="threePt" dir="t"/>
          </a:scene3d>
          <a:sp3d>
            <a:bevelT w="0" h="63500"/>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buSzPct val="100000"/>
              <a:buFont typeface="Trebuchet MS" panose="020B0603020202020204" pitchFamily="34" charset="0"/>
              <a:buChar char="​"/>
            </a:pPr>
            <a:r>
              <a:rPr lang="en-SG" dirty="0">
                <a:solidFill>
                  <a:schemeClr val="tx1">
                    <a:lumMod val="100000"/>
                  </a:schemeClr>
                </a:solidFill>
                <a:latin typeface="Trebuchet MS" panose="020B0603020202020204" pitchFamily="34" charset="0"/>
                <a:sym typeface="+mn-lt"/>
              </a:rPr>
              <a:t>Build a predictive model to accurately predict the Estimated Time of Arrival (ETA) of vessels to a load port</a:t>
            </a:r>
            <a:endParaRPr lang="en-US" dirty="0">
              <a:solidFill>
                <a:schemeClr val="tx1">
                  <a:lumMod val="100000"/>
                </a:schemeClr>
              </a:solidFill>
              <a:latin typeface="Trebuchet MS" panose="020B0603020202020204" pitchFamily="34" charset="0"/>
              <a:sym typeface="+mn-lt"/>
            </a:endParaRPr>
          </a:p>
        </p:txBody>
      </p:sp>
      <p:grpSp>
        <p:nvGrpSpPr>
          <p:cNvPr id="16" name="Group 15">
            <a:extLst>
              <a:ext uri="{FF2B5EF4-FFF2-40B4-BE49-F238E27FC236}">
                <a16:creationId xmlns:a16="http://schemas.microsoft.com/office/drawing/2014/main" id="{324D4C6E-CEEB-44BC-9512-F7C7E5F8335A}"/>
              </a:ext>
            </a:extLst>
          </p:cNvPr>
          <p:cNvGrpSpPr/>
          <p:nvPr/>
        </p:nvGrpSpPr>
        <p:grpSpPr>
          <a:xfrm>
            <a:off x="4779816" y="3057525"/>
            <a:ext cx="1076619" cy="1076619"/>
            <a:chOff x="4770290" y="1609800"/>
            <a:chExt cx="1076619" cy="1076619"/>
          </a:xfrm>
        </p:grpSpPr>
        <p:sp>
          <p:nvSpPr>
            <p:cNvPr id="39" name="Oval 38">
              <a:extLst>
                <a:ext uri="{FF2B5EF4-FFF2-40B4-BE49-F238E27FC236}">
                  <a16:creationId xmlns:a16="http://schemas.microsoft.com/office/drawing/2014/main" id="{DFB5C0CA-9D91-4C6F-8ED0-4F242487DF95}"/>
                </a:ext>
              </a:extLst>
            </p:cNvPr>
            <p:cNvSpPr/>
            <p:nvPr/>
          </p:nvSpPr>
          <p:spPr>
            <a:xfrm>
              <a:off x="4770290" y="1609800"/>
              <a:ext cx="1076619" cy="1076619"/>
            </a:xfrm>
            <a:prstGeom prst="ellipse">
              <a:avLst/>
            </a:prstGeom>
            <a:grpFill/>
            <a:ln w="38100">
              <a:gradFill flip="none" rotWithShape="1">
                <a:gsLst>
                  <a:gs pos="100000">
                    <a:schemeClr val="accent2"/>
                  </a:gs>
                  <a:gs pos="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sym typeface="+mn-lt"/>
              </a:endParaRPr>
            </a:p>
          </p:txBody>
        </p:sp>
        <p:sp>
          <p:nvSpPr>
            <p:cNvPr id="62" name="AutoShape 3">
              <a:extLst>
                <a:ext uri="{FF2B5EF4-FFF2-40B4-BE49-F238E27FC236}">
                  <a16:creationId xmlns:a16="http://schemas.microsoft.com/office/drawing/2014/main" id="{D6DF4242-BFA7-42DB-9054-A0BF5BD77F01}"/>
                </a:ext>
              </a:extLst>
            </p:cNvPr>
            <p:cNvSpPr>
              <a:spLocks noChangeAspect="1" noChangeArrowheads="1" noTextEdit="1"/>
            </p:cNvSpPr>
            <p:nvPr/>
          </p:nvSpPr>
          <p:spPr bwMode="auto">
            <a:xfrm>
              <a:off x="4835113" y="1674623"/>
              <a:ext cx="946974" cy="946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mn-lt"/>
              </a:endParaRPr>
            </a:p>
          </p:txBody>
        </p:sp>
      </p:grpSp>
      <p:sp>
        <p:nvSpPr>
          <p:cNvPr id="76" name="Oval 20">
            <a:extLst>
              <a:ext uri="{FF2B5EF4-FFF2-40B4-BE49-F238E27FC236}">
                <a16:creationId xmlns:a16="http://schemas.microsoft.com/office/drawing/2014/main" id="{CBC6DC39-107A-440B-99FE-02B33F2A02EC}"/>
              </a:ext>
            </a:extLst>
          </p:cNvPr>
          <p:cNvSpPr>
            <a:spLocks noChangeAspect="1" noChangeArrowheads="1"/>
          </p:cNvSpPr>
          <p:nvPr/>
        </p:nvSpPr>
        <p:spPr bwMode="auto">
          <a:xfrm>
            <a:off x="4575171" y="3458770"/>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sym typeface="+mn-lt"/>
              </a:rPr>
              <a:t>2</a:t>
            </a:r>
          </a:p>
        </p:txBody>
      </p:sp>
      <p:sp>
        <p:nvSpPr>
          <p:cNvPr id="27" name="Rectangle 26">
            <a:extLst>
              <a:ext uri="{FF2B5EF4-FFF2-40B4-BE49-F238E27FC236}">
                <a16:creationId xmlns:a16="http://schemas.microsoft.com/office/drawing/2014/main" id="{E5E1027E-FB34-4691-B466-905D7F566AC0}"/>
              </a:ext>
            </a:extLst>
          </p:cNvPr>
          <p:cNvSpPr/>
          <p:nvPr>
            <p:custDataLst>
              <p:tags r:id="rId5"/>
            </p:custDataLst>
          </p:nvPr>
        </p:nvSpPr>
        <p:spPr>
          <a:xfrm>
            <a:off x="6284396" y="5142590"/>
            <a:ext cx="5192591" cy="553998"/>
          </a:xfrm>
          <a:prstGeom prst="rect">
            <a:avLst/>
          </a:prstGeom>
          <a:noFill/>
          <a:ln w="9525">
            <a:noFill/>
            <a:prstDash val="solid"/>
          </a:ln>
          <a:effectLst/>
          <a:scene3d>
            <a:camera prst="orthographicFront"/>
            <a:lightRig rig="threePt" dir="t"/>
          </a:scene3d>
          <a:sp3d>
            <a:bevelT w="0" h="63500"/>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buSzPct val="100000"/>
              <a:buFont typeface="Trebuchet MS" panose="020B0603020202020204" pitchFamily="34" charset="0"/>
              <a:buChar char="​"/>
            </a:pPr>
            <a:r>
              <a:rPr lang="en-SG" dirty="0">
                <a:solidFill>
                  <a:schemeClr val="tx1">
                    <a:lumMod val="100000"/>
                  </a:schemeClr>
                </a:solidFill>
                <a:latin typeface="Trebuchet MS" panose="020B0603020202020204" pitchFamily="34" charset="0"/>
                <a:sym typeface="+mn-lt"/>
              </a:rPr>
              <a:t>ETA prediction model should cater for all geographies</a:t>
            </a:r>
            <a:endParaRPr lang="en-US" dirty="0">
              <a:solidFill>
                <a:schemeClr val="tx1">
                  <a:lumMod val="100000"/>
                </a:schemeClr>
              </a:solidFill>
              <a:latin typeface="Trebuchet MS" panose="020B0603020202020204" pitchFamily="34" charset="0"/>
              <a:sym typeface="+mn-lt"/>
            </a:endParaRPr>
          </a:p>
        </p:txBody>
      </p:sp>
      <p:sp>
        <p:nvSpPr>
          <p:cNvPr id="30" name="Oval 29">
            <a:extLst>
              <a:ext uri="{FF2B5EF4-FFF2-40B4-BE49-F238E27FC236}">
                <a16:creationId xmlns:a16="http://schemas.microsoft.com/office/drawing/2014/main" id="{BAEF8BAC-2492-4206-8FFC-8FEE91BA8EB3}"/>
              </a:ext>
            </a:extLst>
          </p:cNvPr>
          <p:cNvSpPr/>
          <p:nvPr/>
        </p:nvSpPr>
        <p:spPr>
          <a:xfrm>
            <a:off x="4779816" y="4881279"/>
            <a:ext cx="1076619" cy="1076619"/>
          </a:xfrm>
          <a:prstGeom prst="ellipse">
            <a:avLst/>
          </a:prstGeom>
          <a:grpFill/>
          <a:ln w="38100">
            <a:gradFill flip="none" rotWithShape="1">
              <a:gsLst>
                <a:gs pos="100000">
                  <a:schemeClr val="accent2"/>
                </a:gs>
                <a:gs pos="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tx1"/>
              </a:solidFill>
              <a:sym typeface="+mn-lt"/>
            </a:endParaRPr>
          </a:p>
        </p:txBody>
      </p:sp>
      <p:sp>
        <p:nvSpPr>
          <p:cNvPr id="29" name="Oval 20">
            <a:extLst>
              <a:ext uri="{FF2B5EF4-FFF2-40B4-BE49-F238E27FC236}">
                <a16:creationId xmlns:a16="http://schemas.microsoft.com/office/drawing/2014/main" id="{E53B959E-8192-40D8-98A9-780477DAAA92}"/>
              </a:ext>
            </a:extLst>
          </p:cNvPr>
          <p:cNvSpPr>
            <a:spLocks noChangeAspect="1" noChangeArrowheads="1"/>
          </p:cNvSpPr>
          <p:nvPr/>
        </p:nvSpPr>
        <p:spPr bwMode="auto">
          <a:xfrm>
            <a:off x="4575171" y="5282524"/>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sym typeface="+mn-lt"/>
              </a:rPr>
              <a:t>3</a:t>
            </a:r>
          </a:p>
        </p:txBody>
      </p:sp>
      <p:sp>
        <p:nvSpPr>
          <p:cNvPr id="40" name="AutoShape 34">
            <a:extLst>
              <a:ext uri="{FF2B5EF4-FFF2-40B4-BE49-F238E27FC236}">
                <a16:creationId xmlns:a16="http://schemas.microsoft.com/office/drawing/2014/main" id="{17ED2A46-1D7A-4808-94BB-0C5648542DA4}"/>
              </a:ext>
            </a:extLst>
          </p:cNvPr>
          <p:cNvSpPr>
            <a:spLocks noChangeAspect="1" noChangeArrowheads="1" noTextEdit="1"/>
          </p:cNvSpPr>
          <p:nvPr/>
        </p:nvSpPr>
        <p:spPr bwMode="auto">
          <a:xfrm>
            <a:off x="4845565" y="4946101"/>
            <a:ext cx="946048" cy="946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6">
            <a:extLst>
              <a:ext uri="{FF2B5EF4-FFF2-40B4-BE49-F238E27FC236}">
                <a16:creationId xmlns:a16="http://schemas.microsoft.com/office/drawing/2014/main" id="{D158E551-2EDA-43FA-BDB6-504FE701EA4A}"/>
              </a:ext>
            </a:extLst>
          </p:cNvPr>
          <p:cNvSpPr>
            <a:spLocks noEditPoints="1"/>
          </p:cNvSpPr>
          <p:nvPr/>
        </p:nvSpPr>
        <p:spPr bwMode="auto">
          <a:xfrm>
            <a:off x="4903420" y="5003956"/>
            <a:ext cx="831263" cy="832189"/>
          </a:xfrm>
          <a:custGeom>
            <a:avLst/>
            <a:gdLst>
              <a:gd name="T0" fmla="*/ 493 w 878"/>
              <a:gd name="T1" fmla="*/ 876 h 878"/>
              <a:gd name="T2" fmla="*/ 461 w 878"/>
              <a:gd name="T3" fmla="*/ 667 h 878"/>
              <a:gd name="T4" fmla="*/ 614 w 878"/>
              <a:gd name="T5" fmla="*/ 760 h 878"/>
              <a:gd name="T6" fmla="*/ 264 w 878"/>
              <a:gd name="T7" fmla="*/ 760 h 878"/>
              <a:gd name="T8" fmla="*/ 417 w 878"/>
              <a:gd name="T9" fmla="*/ 878 h 878"/>
              <a:gd name="T10" fmla="*/ 232 w 878"/>
              <a:gd name="T11" fmla="*/ 695 h 878"/>
              <a:gd name="T12" fmla="*/ 614 w 878"/>
              <a:gd name="T13" fmla="*/ 118 h 878"/>
              <a:gd name="T14" fmla="*/ 461 w 878"/>
              <a:gd name="T15" fmla="*/ 0 h 878"/>
              <a:gd name="T16" fmla="*/ 646 w 878"/>
              <a:gd name="T17" fmla="*/ 183 h 878"/>
              <a:gd name="T18" fmla="*/ 417 w 878"/>
              <a:gd name="T19" fmla="*/ 211 h 878"/>
              <a:gd name="T20" fmla="*/ 385 w 878"/>
              <a:gd name="T21" fmla="*/ 2 h 878"/>
              <a:gd name="T22" fmla="*/ 232 w 878"/>
              <a:gd name="T23" fmla="*/ 183 h 878"/>
              <a:gd name="T24" fmla="*/ 417 w 878"/>
              <a:gd name="T25" fmla="*/ 417 h 878"/>
              <a:gd name="T26" fmla="*/ 218 w 878"/>
              <a:gd name="T27" fmla="*/ 224 h 878"/>
              <a:gd name="T28" fmla="*/ 735 w 878"/>
              <a:gd name="T29" fmla="*/ 461 h 878"/>
              <a:gd name="T30" fmla="*/ 782 w 878"/>
              <a:gd name="T31" fmla="*/ 706 h 878"/>
              <a:gd name="T32" fmla="*/ 878 w 878"/>
              <a:gd name="T33" fmla="*/ 461 h 878"/>
              <a:gd name="T34" fmla="*/ 735 w 878"/>
              <a:gd name="T35" fmla="*/ 417 h 878"/>
              <a:gd name="T36" fmla="*/ 787 w 878"/>
              <a:gd name="T37" fmla="*/ 169 h 878"/>
              <a:gd name="T38" fmla="*/ 702 w 878"/>
              <a:gd name="T39" fmla="*/ 210 h 878"/>
              <a:gd name="T40" fmla="*/ 652 w 878"/>
              <a:gd name="T41" fmla="*/ 96 h 878"/>
              <a:gd name="T42" fmla="*/ 757 w 878"/>
              <a:gd name="T43" fmla="*/ 135 h 878"/>
              <a:gd name="T44" fmla="*/ 652 w 878"/>
              <a:gd name="T45" fmla="*/ 96 h 878"/>
              <a:gd name="T46" fmla="*/ 0 w 878"/>
              <a:gd name="T47" fmla="*/ 461 h 878"/>
              <a:gd name="T48" fmla="*/ 94 w 878"/>
              <a:gd name="T49" fmla="*/ 707 h 878"/>
              <a:gd name="T50" fmla="*/ 143 w 878"/>
              <a:gd name="T51" fmla="*/ 461 h 878"/>
              <a:gd name="T52" fmla="*/ 191 w 878"/>
              <a:gd name="T53" fmla="*/ 709 h 878"/>
              <a:gd name="T54" fmla="*/ 272 w 878"/>
              <a:gd name="T55" fmla="*/ 846 h 878"/>
              <a:gd name="T56" fmla="*/ 218 w 878"/>
              <a:gd name="T57" fmla="*/ 654 h 878"/>
              <a:gd name="T58" fmla="*/ 417 w 878"/>
              <a:gd name="T59" fmla="*/ 461 h 878"/>
              <a:gd name="T60" fmla="*/ 218 w 878"/>
              <a:gd name="T61" fmla="*/ 654 h 878"/>
              <a:gd name="T62" fmla="*/ 652 w 878"/>
              <a:gd name="T63" fmla="*/ 782 h 878"/>
              <a:gd name="T64" fmla="*/ 758 w 878"/>
              <a:gd name="T65" fmla="*/ 743 h 878"/>
              <a:gd name="T66" fmla="*/ 94 w 878"/>
              <a:gd name="T67" fmla="*/ 171 h 878"/>
              <a:gd name="T68" fmla="*/ 0 w 878"/>
              <a:gd name="T69" fmla="*/ 417 h 878"/>
              <a:gd name="T70" fmla="*/ 176 w 878"/>
              <a:gd name="T71" fmla="*/ 210 h 878"/>
              <a:gd name="T72" fmla="*/ 191 w 878"/>
              <a:gd name="T73" fmla="*/ 169 h 878"/>
              <a:gd name="T74" fmla="*/ 272 w 878"/>
              <a:gd name="T75" fmla="*/ 32 h 878"/>
              <a:gd name="T76" fmla="*/ 191 w 878"/>
              <a:gd name="T77" fmla="*/ 169 h 878"/>
              <a:gd name="T78" fmla="*/ 461 w 878"/>
              <a:gd name="T79" fmla="*/ 461 h 878"/>
              <a:gd name="T80" fmla="*/ 660 w 878"/>
              <a:gd name="T81" fmla="*/ 654 h 878"/>
              <a:gd name="T82" fmla="*/ 660 w 878"/>
              <a:gd name="T83" fmla="*/ 224 h 878"/>
              <a:gd name="T84" fmla="*/ 461 w 878"/>
              <a:gd name="T85" fmla="*/ 417 h 878"/>
              <a:gd name="T86" fmla="*/ 660 w 878"/>
              <a:gd name="T87" fmla="*/ 22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8" h="878">
                <a:moveTo>
                  <a:pt x="614" y="760"/>
                </a:moveTo>
                <a:cubicBezTo>
                  <a:pt x="580" y="818"/>
                  <a:pt x="538" y="858"/>
                  <a:pt x="493" y="876"/>
                </a:cubicBezTo>
                <a:cubicBezTo>
                  <a:pt x="483" y="877"/>
                  <a:pt x="472" y="878"/>
                  <a:pt x="461" y="878"/>
                </a:cubicBezTo>
                <a:cubicBezTo>
                  <a:pt x="461" y="667"/>
                  <a:pt x="461" y="667"/>
                  <a:pt x="461" y="667"/>
                </a:cubicBezTo>
                <a:cubicBezTo>
                  <a:pt x="526" y="668"/>
                  <a:pt x="589" y="678"/>
                  <a:pt x="646" y="695"/>
                </a:cubicBezTo>
                <a:cubicBezTo>
                  <a:pt x="636" y="718"/>
                  <a:pt x="626" y="740"/>
                  <a:pt x="614" y="760"/>
                </a:cubicBezTo>
                <a:close/>
                <a:moveTo>
                  <a:pt x="232" y="695"/>
                </a:moveTo>
                <a:cubicBezTo>
                  <a:pt x="242" y="718"/>
                  <a:pt x="252" y="740"/>
                  <a:pt x="264" y="760"/>
                </a:cubicBezTo>
                <a:cubicBezTo>
                  <a:pt x="298" y="818"/>
                  <a:pt x="340" y="858"/>
                  <a:pt x="385" y="876"/>
                </a:cubicBezTo>
                <a:cubicBezTo>
                  <a:pt x="395" y="877"/>
                  <a:pt x="406" y="878"/>
                  <a:pt x="417" y="878"/>
                </a:cubicBezTo>
                <a:cubicBezTo>
                  <a:pt x="417" y="667"/>
                  <a:pt x="417" y="667"/>
                  <a:pt x="417" y="667"/>
                </a:cubicBezTo>
                <a:cubicBezTo>
                  <a:pt x="352" y="668"/>
                  <a:pt x="289" y="678"/>
                  <a:pt x="232" y="695"/>
                </a:cubicBezTo>
                <a:close/>
                <a:moveTo>
                  <a:pt x="646" y="183"/>
                </a:moveTo>
                <a:cubicBezTo>
                  <a:pt x="636" y="160"/>
                  <a:pt x="626" y="138"/>
                  <a:pt x="614" y="118"/>
                </a:cubicBezTo>
                <a:cubicBezTo>
                  <a:pt x="580" y="60"/>
                  <a:pt x="538" y="20"/>
                  <a:pt x="493" y="2"/>
                </a:cubicBezTo>
                <a:cubicBezTo>
                  <a:pt x="483" y="1"/>
                  <a:pt x="472" y="0"/>
                  <a:pt x="461" y="0"/>
                </a:cubicBezTo>
                <a:cubicBezTo>
                  <a:pt x="461" y="211"/>
                  <a:pt x="461" y="211"/>
                  <a:pt x="461" y="211"/>
                </a:cubicBezTo>
                <a:cubicBezTo>
                  <a:pt x="526" y="210"/>
                  <a:pt x="589" y="200"/>
                  <a:pt x="646" y="183"/>
                </a:cubicBezTo>
                <a:close/>
                <a:moveTo>
                  <a:pt x="232" y="183"/>
                </a:moveTo>
                <a:cubicBezTo>
                  <a:pt x="289" y="200"/>
                  <a:pt x="352" y="210"/>
                  <a:pt x="417" y="211"/>
                </a:cubicBezTo>
                <a:cubicBezTo>
                  <a:pt x="417" y="0"/>
                  <a:pt x="417" y="0"/>
                  <a:pt x="417" y="0"/>
                </a:cubicBezTo>
                <a:cubicBezTo>
                  <a:pt x="406" y="0"/>
                  <a:pt x="395" y="1"/>
                  <a:pt x="385" y="2"/>
                </a:cubicBezTo>
                <a:cubicBezTo>
                  <a:pt x="340" y="20"/>
                  <a:pt x="298" y="60"/>
                  <a:pt x="264" y="118"/>
                </a:cubicBezTo>
                <a:cubicBezTo>
                  <a:pt x="252" y="138"/>
                  <a:pt x="242" y="160"/>
                  <a:pt x="232" y="183"/>
                </a:cubicBezTo>
                <a:close/>
                <a:moveTo>
                  <a:pt x="187" y="417"/>
                </a:moveTo>
                <a:cubicBezTo>
                  <a:pt x="417" y="417"/>
                  <a:pt x="417" y="417"/>
                  <a:pt x="417" y="417"/>
                </a:cubicBezTo>
                <a:cubicBezTo>
                  <a:pt x="417" y="255"/>
                  <a:pt x="417" y="255"/>
                  <a:pt x="417" y="255"/>
                </a:cubicBezTo>
                <a:cubicBezTo>
                  <a:pt x="347" y="253"/>
                  <a:pt x="279" y="243"/>
                  <a:pt x="218" y="224"/>
                </a:cubicBezTo>
                <a:cubicBezTo>
                  <a:pt x="199" y="283"/>
                  <a:pt x="189" y="349"/>
                  <a:pt x="187" y="417"/>
                </a:cubicBezTo>
                <a:close/>
                <a:moveTo>
                  <a:pt x="735" y="461"/>
                </a:moveTo>
                <a:cubicBezTo>
                  <a:pt x="733" y="534"/>
                  <a:pt x="722" y="605"/>
                  <a:pt x="702" y="668"/>
                </a:cubicBezTo>
                <a:cubicBezTo>
                  <a:pt x="730" y="679"/>
                  <a:pt x="757" y="691"/>
                  <a:pt x="782" y="706"/>
                </a:cubicBezTo>
                <a:cubicBezTo>
                  <a:pt x="784" y="707"/>
                  <a:pt x="785" y="708"/>
                  <a:pt x="786" y="709"/>
                </a:cubicBezTo>
                <a:cubicBezTo>
                  <a:pt x="840" y="640"/>
                  <a:pt x="874" y="554"/>
                  <a:pt x="878" y="461"/>
                </a:cubicBezTo>
                <a:lnTo>
                  <a:pt x="735" y="461"/>
                </a:lnTo>
                <a:close/>
                <a:moveTo>
                  <a:pt x="735" y="417"/>
                </a:moveTo>
                <a:cubicBezTo>
                  <a:pt x="878" y="417"/>
                  <a:pt x="878" y="417"/>
                  <a:pt x="878" y="417"/>
                </a:cubicBezTo>
                <a:cubicBezTo>
                  <a:pt x="874" y="324"/>
                  <a:pt x="840" y="238"/>
                  <a:pt x="787" y="169"/>
                </a:cubicBezTo>
                <a:cubicBezTo>
                  <a:pt x="786" y="170"/>
                  <a:pt x="785" y="171"/>
                  <a:pt x="784" y="171"/>
                </a:cubicBezTo>
                <a:cubicBezTo>
                  <a:pt x="759" y="186"/>
                  <a:pt x="731" y="199"/>
                  <a:pt x="702" y="210"/>
                </a:cubicBezTo>
                <a:cubicBezTo>
                  <a:pt x="722" y="273"/>
                  <a:pt x="733" y="344"/>
                  <a:pt x="735" y="417"/>
                </a:cubicBezTo>
                <a:close/>
                <a:moveTo>
                  <a:pt x="652" y="96"/>
                </a:moveTo>
                <a:cubicBezTo>
                  <a:pt x="665" y="119"/>
                  <a:pt x="677" y="143"/>
                  <a:pt x="687" y="169"/>
                </a:cubicBezTo>
                <a:cubicBezTo>
                  <a:pt x="712" y="159"/>
                  <a:pt x="736" y="148"/>
                  <a:pt x="757" y="135"/>
                </a:cubicBezTo>
                <a:cubicBezTo>
                  <a:pt x="715" y="91"/>
                  <a:pt x="664" y="56"/>
                  <a:pt x="606" y="32"/>
                </a:cubicBezTo>
                <a:cubicBezTo>
                  <a:pt x="623" y="50"/>
                  <a:pt x="638" y="72"/>
                  <a:pt x="652" y="96"/>
                </a:cubicBezTo>
                <a:close/>
                <a:moveTo>
                  <a:pt x="143" y="461"/>
                </a:moveTo>
                <a:cubicBezTo>
                  <a:pt x="0" y="461"/>
                  <a:pt x="0" y="461"/>
                  <a:pt x="0" y="461"/>
                </a:cubicBezTo>
                <a:cubicBezTo>
                  <a:pt x="4" y="554"/>
                  <a:pt x="38" y="640"/>
                  <a:pt x="91" y="709"/>
                </a:cubicBezTo>
                <a:cubicBezTo>
                  <a:pt x="92" y="708"/>
                  <a:pt x="93" y="707"/>
                  <a:pt x="94" y="707"/>
                </a:cubicBezTo>
                <a:cubicBezTo>
                  <a:pt x="119" y="692"/>
                  <a:pt x="147" y="679"/>
                  <a:pt x="176" y="668"/>
                </a:cubicBezTo>
                <a:cubicBezTo>
                  <a:pt x="156" y="605"/>
                  <a:pt x="145" y="534"/>
                  <a:pt x="143" y="461"/>
                </a:cubicBezTo>
                <a:close/>
                <a:moveTo>
                  <a:pt x="226" y="782"/>
                </a:moveTo>
                <a:cubicBezTo>
                  <a:pt x="213" y="759"/>
                  <a:pt x="201" y="735"/>
                  <a:pt x="191" y="709"/>
                </a:cubicBezTo>
                <a:cubicBezTo>
                  <a:pt x="166" y="719"/>
                  <a:pt x="142" y="730"/>
                  <a:pt x="121" y="743"/>
                </a:cubicBezTo>
                <a:cubicBezTo>
                  <a:pt x="163" y="787"/>
                  <a:pt x="214" y="822"/>
                  <a:pt x="272" y="846"/>
                </a:cubicBezTo>
                <a:cubicBezTo>
                  <a:pt x="255" y="828"/>
                  <a:pt x="240" y="806"/>
                  <a:pt x="226" y="782"/>
                </a:cubicBezTo>
                <a:close/>
                <a:moveTo>
                  <a:pt x="218" y="654"/>
                </a:moveTo>
                <a:cubicBezTo>
                  <a:pt x="279" y="635"/>
                  <a:pt x="347" y="625"/>
                  <a:pt x="417" y="623"/>
                </a:cubicBezTo>
                <a:cubicBezTo>
                  <a:pt x="417" y="461"/>
                  <a:pt x="417" y="461"/>
                  <a:pt x="417" y="461"/>
                </a:cubicBezTo>
                <a:cubicBezTo>
                  <a:pt x="187" y="461"/>
                  <a:pt x="187" y="461"/>
                  <a:pt x="187" y="461"/>
                </a:cubicBezTo>
                <a:cubicBezTo>
                  <a:pt x="189" y="529"/>
                  <a:pt x="199" y="595"/>
                  <a:pt x="218" y="654"/>
                </a:cubicBezTo>
                <a:close/>
                <a:moveTo>
                  <a:pt x="687" y="709"/>
                </a:moveTo>
                <a:cubicBezTo>
                  <a:pt x="677" y="735"/>
                  <a:pt x="665" y="759"/>
                  <a:pt x="652" y="782"/>
                </a:cubicBezTo>
                <a:cubicBezTo>
                  <a:pt x="638" y="806"/>
                  <a:pt x="623" y="828"/>
                  <a:pt x="606" y="846"/>
                </a:cubicBezTo>
                <a:cubicBezTo>
                  <a:pt x="664" y="822"/>
                  <a:pt x="715" y="787"/>
                  <a:pt x="758" y="743"/>
                </a:cubicBezTo>
                <a:cubicBezTo>
                  <a:pt x="736" y="730"/>
                  <a:pt x="712" y="719"/>
                  <a:pt x="687" y="709"/>
                </a:cubicBezTo>
                <a:close/>
                <a:moveTo>
                  <a:pt x="94" y="171"/>
                </a:moveTo>
                <a:cubicBezTo>
                  <a:pt x="93" y="171"/>
                  <a:pt x="92" y="170"/>
                  <a:pt x="91" y="169"/>
                </a:cubicBezTo>
                <a:cubicBezTo>
                  <a:pt x="38" y="238"/>
                  <a:pt x="4" y="324"/>
                  <a:pt x="0" y="417"/>
                </a:cubicBezTo>
                <a:cubicBezTo>
                  <a:pt x="143" y="417"/>
                  <a:pt x="143" y="417"/>
                  <a:pt x="143" y="417"/>
                </a:cubicBezTo>
                <a:cubicBezTo>
                  <a:pt x="145" y="344"/>
                  <a:pt x="156" y="273"/>
                  <a:pt x="176" y="210"/>
                </a:cubicBezTo>
                <a:cubicBezTo>
                  <a:pt x="147" y="199"/>
                  <a:pt x="119" y="186"/>
                  <a:pt x="94" y="171"/>
                </a:cubicBezTo>
                <a:close/>
                <a:moveTo>
                  <a:pt x="191" y="169"/>
                </a:moveTo>
                <a:cubicBezTo>
                  <a:pt x="201" y="143"/>
                  <a:pt x="213" y="119"/>
                  <a:pt x="226" y="96"/>
                </a:cubicBezTo>
                <a:cubicBezTo>
                  <a:pt x="240" y="72"/>
                  <a:pt x="255" y="50"/>
                  <a:pt x="272" y="32"/>
                </a:cubicBezTo>
                <a:cubicBezTo>
                  <a:pt x="214" y="56"/>
                  <a:pt x="163" y="91"/>
                  <a:pt x="121" y="135"/>
                </a:cubicBezTo>
                <a:cubicBezTo>
                  <a:pt x="142" y="148"/>
                  <a:pt x="166" y="159"/>
                  <a:pt x="191" y="169"/>
                </a:cubicBezTo>
                <a:close/>
                <a:moveTo>
                  <a:pt x="691" y="461"/>
                </a:moveTo>
                <a:cubicBezTo>
                  <a:pt x="461" y="461"/>
                  <a:pt x="461" y="461"/>
                  <a:pt x="461" y="461"/>
                </a:cubicBezTo>
                <a:cubicBezTo>
                  <a:pt x="461" y="623"/>
                  <a:pt x="461" y="623"/>
                  <a:pt x="461" y="623"/>
                </a:cubicBezTo>
                <a:cubicBezTo>
                  <a:pt x="531" y="625"/>
                  <a:pt x="599" y="635"/>
                  <a:pt x="660" y="654"/>
                </a:cubicBezTo>
                <a:cubicBezTo>
                  <a:pt x="679" y="595"/>
                  <a:pt x="689" y="529"/>
                  <a:pt x="691" y="461"/>
                </a:cubicBezTo>
                <a:close/>
                <a:moveTo>
                  <a:pt x="660" y="224"/>
                </a:moveTo>
                <a:cubicBezTo>
                  <a:pt x="599" y="243"/>
                  <a:pt x="531" y="253"/>
                  <a:pt x="461" y="255"/>
                </a:cubicBezTo>
                <a:cubicBezTo>
                  <a:pt x="461" y="417"/>
                  <a:pt x="461" y="417"/>
                  <a:pt x="461" y="417"/>
                </a:cubicBezTo>
                <a:cubicBezTo>
                  <a:pt x="691" y="417"/>
                  <a:pt x="691" y="417"/>
                  <a:pt x="691" y="417"/>
                </a:cubicBezTo>
                <a:cubicBezTo>
                  <a:pt x="689" y="349"/>
                  <a:pt x="679" y="283"/>
                  <a:pt x="660" y="2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AutoShape 19">
            <a:extLst>
              <a:ext uri="{FF2B5EF4-FFF2-40B4-BE49-F238E27FC236}">
                <a16:creationId xmlns:a16="http://schemas.microsoft.com/office/drawing/2014/main" id="{BDAF5CA9-711E-4B60-B2E0-42601F01F89B}"/>
              </a:ext>
            </a:extLst>
          </p:cNvPr>
          <p:cNvSpPr>
            <a:spLocks noChangeAspect="1" noChangeArrowheads="1" noTextEdit="1"/>
          </p:cNvSpPr>
          <p:nvPr/>
        </p:nvSpPr>
        <p:spPr bwMode="auto">
          <a:xfrm>
            <a:off x="5867624" y="3200400"/>
            <a:ext cx="831375" cy="832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1">
            <a:extLst>
              <a:ext uri="{FF2B5EF4-FFF2-40B4-BE49-F238E27FC236}">
                <a16:creationId xmlns:a16="http://schemas.microsoft.com/office/drawing/2014/main" id="{9EFC3BD2-08D1-4D6C-9512-A2F2F14DCD62}"/>
              </a:ext>
            </a:extLst>
          </p:cNvPr>
          <p:cNvSpPr>
            <a:spLocks noEditPoints="1"/>
          </p:cNvSpPr>
          <p:nvPr/>
        </p:nvSpPr>
        <p:spPr bwMode="auto">
          <a:xfrm>
            <a:off x="4931974" y="3261615"/>
            <a:ext cx="733758" cy="701219"/>
          </a:xfrm>
          <a:custGeom>
            <a:avLst/>
            <a:gdLst>
              <a:gd name="T0" fmla="*/ 868 w 882"/>
              <a:gd name="T1" fmla="*/ 325 h 842"/>
              <a:gd name="T2" fmla="*/ 801 w 882"/>
              <a:gd name="T3" fmla="*/ 295 h 842"/>
              <a:gd name="T4" fmla="*/ 770 w 882"/>
              <a:gd name="T5" fmla="*/ 228 h 842"/>
              <a:gd name="T6" fmla="*/ 724 w 882"/>
              <a:gd name="T7" fmla="*/ 164 h 842"/>
              <a:gd name="T8" fmla="*/ 729 w 882"/>
              <a:gd name="T9" fmla="*/ 91 h 842"/>
              <a:gd name="T10" fmla="*/ 569 w 882"/>
              <a:gd name="T11" fmla="*/ 0 h 842"/>
              <a:gd name="T12" fmla="*/ 509 w 882"/>
              <a:gd name="T13" fmla="*/ 44 h 842"/>
              <a:gd name="T14" fmla="*/ 367 w 882"/>
              <a:gd name="T15" fmla="*/ 44 h 842"/>
              <a:gd name="T16" fmla="*/ 307 w 882"/>
              <a:gd name="T17" fmla="*/ 1 h 842"/>
              <a:gd name="T18" fmla="*/ 221 w 882"/>
              <a:gd name="T19" fmla="*/ 39 h 842"/>
              <a:gd name="T20" fmla="*/ 145 w 882"/>
              <a:gd name="T21" fmla="*/ 95 h 842"/>
              <a:gd name="T22" fmla="*/ 154 w 882"/>
              <a:gd name="T23" fmla="*/ 170 h 842"/>
              <a:gd name="T24" fmla="*/ 81 w 882"/>
              <a:gd name="T25" fmla="*/ 294 h 842"/>
              <a:gd name="T26" fmla="*/ 15 w 882"/>
              <a:gd name="T27" fmla="*/ 324 h 842"/>
              <a:gd name="T28" fmla="*/ 13 w 882"/>
              <a:gd name="T29" fmla="*/ 514 h 842"/>
              <a:gd name="T30" fmla="*/ 79 w 882"/>
              <a:gd name="T31" fmla="*/ 542 h 842"/>
              <a:gd name="T32" fmla="*/ 113 w 882"/>
              <a:gd name="T33" fmla="*/ 614 h 842"/>
              <a:gd name="T34" fmla="*/ 155 w 882"/>
              <a:gd name="T35" fmla="*/ 675 h 842"/>
              <a:gd name="T36" fmla="*/ 146 w 882"/>
              <a:gd name="T37" fmla="*/ 748 h 842"/>
              <a:gd name="T38" fmla="*/ 304 w 882"/>
              <a:gd name="T39" fmla="*/ 842 h 842"/>
              <a:gd name="T40" fmla="*/ 362 w 882"/>
              <a:gd name="T41" fmla="*/ 798 h 842"/>
              <a:gd name="T42" fmla="*/ 520 w 882"/>
              <a:gd name="T43" fmla="*/ 799 h 842"/>
              <a:gd name="T44" fmla="*/ 580 w 882"/>
              <a:gd name="T45" fmla="*/ 842 h 842"/>
              <a:gd name="T46" fmla="*/ 662 w 882"/>
              <a:gd name="T47" fmla="*/ 806 h 842"/>
              <a:gd name="T48" fmla="*/ 735 w 882"/>
              <a:gd name="T49" fmla="*/ 751 h 842"/>
              <a:gd name="T50" fmla="*/ 726 w 882"/>
              <a:gd name="T51" fmla="*/ 678 h 842"/>
              <a:gd name="T52" fmla="*/ 805 w 882"/>
              <a:gd name="T53" fmla="*/ 538 h 842"/>
              <a:gd name="T54" fmla="*/ 870 w 882"/>
              <a:gd name="T55" fmla="*/ 509 h 842"/>
              <a:gd name="T56" fmla="*/ 868 w 882"/>
              <a:gd name="T57" fmla="*/ 325 h 842"/>
              <a:gd name="T58" fmla="*/ 512 w 882"/>
              <a:gd name="T59" fmla="*/ 587 h 842"/>
              <a:gd name="T60" fmla="*/ 278 w 882"/>
              <a:gd name="T61" fmla="*/ 493 h 842"/>
              <a:gd name="T62" fmla="*/ 370 w 882"/>
              <a:gd name="T63" fmla="*/ 257 h 842"/>
              <a:gd name="T64" fmla="*/ 604 w 882"/>
              <a:gd name="T65" fmla="*/ 351 h 842"/>
              <a:gd name="T66" fmla="*/ 512 w 882"/>
              <a:gd name="T67" fmla="*/ 587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2" h="842">
                <a:moveTo>
                  <a:pt x="868" y="325"/>
                </a:moveTo>
                <a:cubicBezTo>
                  <a:pt x="801" y="295"/>
                  <a:pt x="801" y="295"/>
                  <a:pt x="801" y="295"/>
                </a:cubicBezTo>
                <a:cubicBezTo>
                  <a:pt x="793" y="273"/>
                  <a:pt x="783" y="250"/>
                  <a:pt x="770" y="228"/>
                </a:cubicBezTo>
                <a:cubicBezTo>
                  <a:pt x="757" y="205"/>
                  <a:pt x="741" y="184"/>
                  <a:pt x="724" y="164"/>
                </a:cubicBezTo>
                <a:cubicBezTo>
                  <a:pt x="729" y="91"/>
                  <a:pt x="729" y="91"/>
                  <a:pt x="729" y="91"/>
                </a:cubicBezTo>
                <a:cubicBezTo>
                  <a:pt x="684" y="50"/>
                  <a:pt x="627" y="18"/>
                  <a:pt x="569" y="0"/>
                </a:cubicBezTo>
                <a:cubicBezTo>
                  <a:pt x="509" y="44"/>
                  <a:pt x="509" y="44"/>
                  <a:pt x="509" y="44"/>
                </a:cubicBezTo>
                <a:cubicBezTo>
                  <a:pt x="462" y="34"/>
                  <a:pt x="414" y="35"/>
                  <a:pt x="367" y="44"/>
                </a:cubicBezTo>
                <a:cubicBezTo>
                  <a:pt x="307" y="1"/>
                  <a:pt x="307" y="1"/>
                  <a:pt x="307" y="1"/>
                </a:cubicBezTo>
                <a:cubicBezTo>
                  <a:pt x="278" y="11"/>
                  <a:pt x="249" y="23"/>
                  <a:pt x="221" y="39"/>
                </a:cubicBezTo>
                <a:cubicBezTo>
                  <a:pt x="193" y="56"/>
                  <a:pt x="167" y="75"/>
                  <a:pt x="145" y="95"/>
                </a:cubicBezTo>
                <a:cubicBezTo>
                  <a:pt x="154" y="170"/>
                  <a:pt x="154" y="170"/>
                  <a:pt x="154" y="170"/>
                </a:cubicBezTo>
                <a:cubicBezTo>
                  <a:pt x="122" y="208"/>
                  <a:pt x="96" y="249"/>
                  <a:pt x="81" y="294"/>
                </a:cubicBezTo>
                <a:cubicBezTo>
                  <a:pt x="15" y="324"/>
                  <a:pt x="15" y="324"/>
                  <a:pt x="15" y="324"/>
                </a:cubicBezTo>
                <a:cubicBezTo>
                  <a:pt x="0" y="385"/>
                  <a:pt x="0" y="449"/>
                  <a:pt x="13" y="514"/>
                </a:cubicBezTo>
                <a:cubicBezTo>
                  <a:pt x="79" y="542"/>
                  <a:pt x="79" y="542"/>
                  <a:pt x="79" y="542"/>
                </a:cubicBezTo>
                <a:cubicBezTo>
                  <a:pt x="87" y="566"/>
                  <a:pt x="98" y="592"/>
                  <a:pt x="113" y="614"/>
                </a:cubicBezTo>
                <a:cubicBezTo>
                  <a:pt x="125" y="636"/>
                  <a:pt x="139" y="657"/>
                  <a:pt x="155" y="675"/>
                </a:cubicBezTo>
                <a:cubicBezTo>
                  <a:pt x="146" y="748"/>
                  <a:pt x="146" y="748"/>
                  <a:pt x="146" y="748"/>
                </a:cubicBezTo>
                <a:cubicBezTo>
                  <a:pt x="193" y="791"/>
                  <a:pt x="247" y="822"/>
                  <a:pt x="304" y="842"/>
                </a:cubicBezTo>
                <a:cubicBezTo>
                  <a:pt x="362" y="798"/>
                  <a:pt x="362" y="798"/>
                  <a:pt x="362" y="798"/>
                </a:cubicBezTo>
                <a:cubicBezTo>
                  <a:pt x="414" y="810"/>
                  <a:pt x="466" y="810"/>
                  <a:pt x="520" y="799"/>
                </a:cubicBezTo>
                <a:cubicBezTo>
                  <a:pt x="580" y="842"/>
                  <a:pt x="580" y="842"/>
                  <a:pt x="580" y="842"/>
                </a:cubicBezTo>
                <a:cubicBezTo>
                  <a:pt x="607" y="832"/>
                  <a:pt x="635" y="820"/>
                  <a:pt x="662" y="806"/>
                </a:cubicBezTo>
                <a:cubicBezTo>
                  <a:pt x="687" y="789"/>
                  <a:pt x="712" y="771"/>
                  <a:pt x="735" y="751"/>
                </a:cubicBezTo>
                <a:cubicBezTo>
                  <a:pt x="726" y="678"/>
                  <a:pt x="726" y="678"/>
                  <a:pt x="726" y="678"/>
                </a:cubicBezTo>
                <a:cubicBezTo>
                  <a:pt x="762" y="637"/>
                  <a:pt x="788" y="589"/>
                  <a:pt x="805" y="538"/>
                </a:cubicBezTo>
                <a:cubicBezTo>
                  <a:pt x="870" y="509"/>
                  <a:pt x="870" y="509"/>
                  <a:pt x="870" y="509"/>
                </a:cubicBezTo>
                <a:cubicBezTo>
                  <a:pt x="882" y="450"/>
                  <a:pt x="881" y="386"/>
                  <a:pt x="868" y="325"/>
                </a:cubicBezTo>
                <a:close/>
                <a:moveTo>
                  <a:pt x="512" y="587"/>
                </a:moveTo>
                <a:cubicBezTo>
                  <a:pt x="422" y="628"/>
                  <a:pt x="317" y="584"/>
                  <a:pt x="278" y="493"/>
                </a:cubicBezTo>
                <a:cubicBezTo>
                  <a:pt x="238" y="401"/>
                  <a:pt x="280" y="296"/>
                  <a:pt x="370" y="257"/>
                </a:cubicBezTo>
                <a:cubicBezTo>
                  <a:pt x="460" y="217"/>
                  <a:pt x="566" y="260"/>
                  <a:pt x="604" y="351"/>
                </a:cubicBezTo>
                <a:cubicBezTo>
                  <a:pt x="644" y="442"/>
                  <a:pt x="603" y="549"/>
                  <a:pt x="512" y="58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8" name="Group 27">
            <a:extLst>
              <a:ext uri="{FF2B5EF4-FFF2-40B4-BE49-F238E27FC236}">
                <a16:creationId xmlns:a16="http://schemas.microsoft.com/office/drawing/2014/main" id="{7A5CB738-7817-47F2-B6F6-79013242996C}"/>
              </a:ext>
            </a:extLst>
          </p:cNvPr>
          <p:cNvGrpSpPr>
            <a:grpSpLocks noChangeAspect="1"/>
          </p:cNvGrpSpPr>
          <p:nvPr/>
        </p:nvGrpSpPr>
        <p:grpSpPr>
          <a:xfrm>
            <a:off x="4835113" y="1218092"/>
            <a:ext cx="946974" cy="946974"/>
            <a:chOff x="5273675" y="2606675"/>
            <a:chExt cx="1644650" cy="1644650"/>
          </a:xfrm>
        </p:grpSpPr>
        <p:sp>
          <p:nvSpPr>
            <p:cNvPr id="31" name="AutoShape 15">
              <a:extLst>
                <a:ext uri="{FF2B5EF4-FFF2-40B4-BE49-F238E27FC236}">
                  <a16:creationId xmlns:a16="http://schemas.microsoft.com/office/drawing/2014/main" id="{8FDB0E98-0792-46D4-9AC7-55F6E98C8BC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2" name="Group 31">
              <a:extLst>
                <a:ext uri="{FF2B5EF4-FFF2-40B4-BE49-F238E27FC236}">
                  <a16:creationId xmlns:a16="http://schemas.microsoft.com/office/drawing/2014/main" id="{7EAC4C72-557F-4815-B100-E76E500E1F21}"/>
                </a:ext>
              </a:extLst>
            </p:cNvPr>
            <p:cNvGrpSpPr/>
            <p:nvPr/>
          </p:nvGrpSpPr>
          <p:grpSpPr>
            <a:xfrm>
              <a:off x="5444434" y="2976563"/>
              <a:ext cx="1304029" cy="898525"/>
              <a:chOff x="5444434" y="2976563"/>
              <a:chExt cx="1304029" cy="898525"/>
            </a:xfrm>
          </p:grpSpPr>
          <p:sp>
            <p:nvSpPr>
              <p:cNvPr id="33" name="Freeform 9">
                <a:extLst>
                  <a:ext uri="{FF2B5EF4-FFF2-40B4-BE49-F238E27FC236}">
                    <a16:creationId xmlns:a16="http://schemas.microsoft.com/office/drawing/2014/main" id="{0A82BEDF-7F1C-4308-9FBE-1AD828418196}"/>
                  </a:ext>
                </a:extLst>
              </p:cNvPr>
              <p:cNvSpPr>
                <a:spLocks/>
              </p:cNvSpPr>
              <p:nvPr/>
            </p:nvSpPr>
            <p:spPr bwMode="auto">
              <a:xfrm>
                <a:off x="5444434" y="3460750"/>
                <a:ext cx="1304029" cy="414338"/>
              </a:xfrm>
              <a:custGeom>
                <a:avLst/>
                <a:gdLst>
                  <a:gd name="connsiteX0" fmla="*/ 38791 w 1304029"/>
                  <a:gd name="connsiteY0" fmla="*/ 31750 h 414338"/>
                  <a:gd name="connsiteX1" fmla="*/ 56627 w 1304029"/>
                  <a:gd name="connsiteY1" fmla="*/ 77388 h 414338"/>
                  <a:gd name="connsiteX2" fmla="*/ 84450 w 1304029"/>
                  <a:gd name="connsiteY2" fmla="*/ 143705 h 414338"/>
                  <a:gd name="connsiteX3" fmla="*/ 157218 w 1304029"/>
                  <a:gd name="connsiteY3" fmla="*/ 319837 h 414338"/>
                  <a:gd name="connsiteX4" fmla="*/ 235693 w 1304029"/>
                  <a:gd name="connsiteY4" fmla="*/ 382588 h 414338"/>
                  <a:gd name="connsiteX5" fmla="*/ 824970 w 1304029"/>
                  <a:gd name="connsiteY5" fmla="*/ 379736 h 414338"/>
                  <a:gd name="connsiteX6" fmla="*/ 897738 w 1304029"/>
                  <a:gd name="connsiteY6" fmla="*/ 379023 h 414338"/>
                  <a:gd name="connsiteX7" fmla="*/ 1162414 w 1304029"/>
                  <a:gd name="connsiteY7" fmla="*/ 378310 h 414338"/>
                  <a:gd name="connsiteX8" fmla="*/ 1176682 w 1304029"/>
                  <a:gd name="connsiteY8" fmla="*/ 292739 h 414338"/>
                  <a:gd name="connsiteX9" fmla="*/ 1185956 w 1304029"/>
                  <a:gd name="connsiteY9" fmla="*/ 282756 h 414338"/>
                  <a:gd name="connsiteX10" fmla="*/ 1187383 w 1304029"/>
                  <a:gd name="connsiteY10" fmla="*/ 282756 h 414338"/>
                  <a:gd name="connsiteX11" fmla="*/ 1272279 w 1304029"/>
                  <a:gd name="connsiteY11" fmla="*/ 101632 h 414338"/>
                  <a:gd name="connsiteX12" fmla="*/ 1272279 w 1304029"/>
                  <a:gd name="connsiteY12" fmla="*/ 87371 h 414338"/>
                  <a:gd name="connsiteX13" fmla="*/ 459704 w 1304029"/>
                  <a:gd name="connsiteY13" fmla="*/ 87371 h 414338"/>
                  <a:gd name="connsiteX14" fmla="*/ 438302 w 1304029"/>
                  <a:gd name="connsiteY14" fmla="*/ 31750 h 414338"/>
                  <a:gd name="connsiteX15" fmla="*/ 38791 w 1304029"/>
                  <a:gd name="connsiteY15" fmla="*/ 31750 h 414338"/>
                  <a:gd name="connsiteX16" fmla="*/ 14800 w 1304029"/>
                  <a:gd name="connsiteY16" fmla="*/ 0 h 414338"/>
                  <a:gd name="connsiteX17" fmla="*/ 449300 w 1304029"/>
                  <a:gd name="connsiteY17" fmla="*/ 0 h 414338"/>
                  <a:gd name="connsiteX18" fmla="*/ 464283 w 1304029"/>
                  <a:gd name="connsiteY18" fmla="*/ 10001 h 414338"/>
                  <a:gd name="connsiteX19" fmla="*/ 481406 w 1304029"/>
                  <a:gd name="connsiteY19" fmla="*/ 55721 h 414338"/>
                  <a:gd name="connsiteX20" fmla="*/ 1277631 w 1304029"/>
                  <a:gd name="connsiteY20" fmla="*/ 55721 h 414338"/>
                  <a:gd name="connsiteX21" fmla="*/ 1291900 w 1304029"/>
                  <a:gd name="connsiteY21" fmla="*/ 57150 h 414338"/>
                  <a:gd name="connsiteX22" fmla="*/ 1301175 w 1304029"/>
                  <a:gd name="connsiteY22" fmla="*/ 65723 h 414338"/>
                  <a:gd name="connsiteX23" fmla="*/ 1304029 w 1304029"/>
                  <a:gd name="connsiteY23" fmla="*/ 101442 h 414338"/>
                  <a:gd name="connsiteX24" fmla="*/ 1204144 w 1304029"/>
                  <a:gd name="connsiteY24" fmla="*/ 310039 h 414338"/>
                  <a:gd name="connsiteX25" fmla="*/ 1200577 w 1304029"/>
                  <a:gd name="connsiteY25" fmla="*/ 314326 h 414338"/>
                  <a:gd name="connsiteX26" fmla="*/ 1199150 w 1304029"/>
                  <a:gd name="connsiteY26" fmla="*/ 385049 h 414338"/>
                  <a:gd name="connsiteX27" fmla="*/ 1200577 w 1304029"/>
                  <a:gd name="connsiteY27" fmla="*/ 387192 h 414338"/>
                  <a:gd name="connsiteX28" fmla="*/ 1200577 w 1304029"/>
                  <a:gd name="connsiteY28" fmla="*/ 387906 h 414338"/>
                  <a:gd name="connsiteX29" fmla="*/ 1199863 w 1304029"/>
                  <a:gd name="connsiteY29" fmla="*/ 402194 h 414338"/>
                  <a:gd name="connsiteX30" fmla="*/ 1187021 w 1304029"/>
                  <a:gd name="connsiteY30" fmla="*/ 410052 h 414338"/>
                  <a:gd name="connsiteX31" fmla="*/ 825295 w 1304029"/>
                  <a:gd name="connsiteY31" fmla="*/ 411481 h 414338"/>
                  <a:gd name="connsiteX32" fmla="*/ 235974 w 1304029"/>
                  <a:gd name="connsiteY32" fmla="*/ 414338 h 414338"/>
                  <a:gd name="connsiteX33" fmla="*/ 128241 w 1304029"/>
                  <a:gd name="connsiteY33" fmla="*/ 332899 h 414338"/>
                  <a:gd name="connsiteX34" fmla="*/ 28356 w 1304029"/>
                  <a:gd name="connsiteY34" fmla="*/ 89297 h 414338"/>
                  <a:gd name="connsiteX35" fmla="*/ 1245 w 1304029"/>
                  <a:gd name="connsiteY35" fmla="*/ 20717 h 414338"/>
                  <a:gd name="connsiteX36" fmla="*/ 2672 w 1304029"/>
                  <a:gd name="connsiteY36" fmla="*/ 7144 h 414338"/>
                  <a:gd name="connsiteX37" fmla="*/ 14800 w 1304029"/>
                  <a:gd name="connsiteY37" fmla="*/ 0 h 4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04029" h="414338">
                    <a:moveTo>
                      <a:pt x="38791" y="31750"/>
                    </a:moveTo>
                    <a:cubicBezTo>
                      <a:pt x="43785" y="45299"/>
                      <a:pt x="50206" y="60987"/>
                      <a:pt x="56627" y="77388"/>
                    </a:cubicBezTo>
                    <a:cubicBezTo>
                      <a:pt x="65187" y="98780"/>
                      <a:pt x="74462" y="120886"/>
                      <a:pt x="84450" y="143705"/>
                    </a:cubicBezTo>
                    <a:cubicBezTo>
                      <a:pt x="116553" y="222144"/>
                      <a:pt x="149370" y="303436"/>
                      <a:pt x="157218" y="319837"/>
                    </a:cubicBezTo>
                    <a:cubicBezTo>
                      <a:pt x="166492" y="341942"/>
                      <a:pt x="199309" y="382588"/>
                      <a:pt x="235693" y="382588"/>
                    </a:cubicBezTo>
                    <a:cubicBezTo>
                      <a:pt x="262802" y="382588"/>
                      <a:pt x="566002" y="381162"/>
                      <a:pt x="824970" y="379736"/>
                    </a:cubicBezTo>
                    <a:cubicBezTo>
                      <a:pt x="824970" y="379736"/>
                      <a:pt x="824970" y="379736"/>
                      <a:pt x="897738" y="379023"/>
                    </a:cubicBezTo>
                    <a:cubicBezTo>
                      <a:pt x="1011884" y="379023"/>
                      <a:pt x="1112475" y="378310"/>
                      <a:pt x="1162414" y="378310"/>
                    </a:cubicBezTo>
                    <a:cubicBezTo>
                      <a:pt x="1154566" y="355491"/>
                      <a:pt x="1150286" y="321976"/>
                      <a:pt x="1176682" y="292739"/>
                    </a:cubicBezTo>
                    <a:cubicBezTo>
                      <a:pt x="1176682" y="292739"/>
                      <a:pt x="1176682" y="292739"/>
                      <a:pt x="1185956" y="282756"/>
                    </a:cubicBezTo>
                    <a:cubicBezTo>
                      <a:pt x="1185956" y="282756"/>
                      <a:pt x="1185956" y="282756"/>
                      <a:pt x="1187383" y="282756"/>
                    </a:cubicBezTo>
                    <a:cubicBezTo>
                      <a:pt x="1243743" y="227849"/>
                      <a:pt x="1272279" y="167236"/>
                      <a:pt x="1272279" y="101632"/>
                    </a:cubicBezTo>
                    <a:cubicBezTo>
                      <a:pt x="1272279" y="95215"/>
                      <a:pt x="1272279" y="90936"/>
                      <a:pt x="1272279" y="87371"/>
                    </a:cubicBezTo>
                    <a:cubicBezTo>
                      <a:pt x="1272279" y="87371"/>
                      <a:pt x="1272279" y="87371"/>
                      <a:pt x="459704" y="87371"/>
                    </a:cubicBezTo>
                    <a:cubicBezTo>
                      <a:pt x="459704" y="87371"/>
                      <a:pt x="459704" y="87371"/>
                      <a:pt x="438302" y="31750"/>
                    </a:cubicBezTo>
                    <a:cubicBezTo>
                      <a:pt x="438302" y="31750"/>
                      <a:pt x="438302" y="31750"/>
                      <a:pt x="38791" y="31750"/>
                    </a:cubicBezTo>
                    <a:close/>
                    <a:moveTo>
                      <a:pt x="14800" y="0"/>
                    </a:moveTo>
                    <a:cubicBezTo>
                      <a:pt x="14800" y="0"/>
                      <a:pt x="14800" y="0"/>
                      <a:pt x="449300" y="0"/>
                    </a:cubicBezTo>
                    <a:cubicBezTo>
                      <a:pt x="455721" y="0"/>
                      <a:pt x="462142" y="4286"/>
                      <a:pt x="464283" y="10001"/>
                    </a:cubicBezTo>
                    <a:cubicBezTo>
                      <a:pt x="464283" y="10001"/>
                      <a:pt x="464283" y="10001"/>
                      <a:pt x="481406" y="55721"/>
                    </a:cubicBezTo>
                    <a:cubicBezTo>
                      <a:pt x="481406" y="55721"/>
                      <a:pt x="481406" y="55721"/>
                      <a:pt x="1277631" y="55721"/>
                    </a:cubicBezTo>
                    <a:cubicBezTo>
                      <a:pt x="1285479" y="55721"/>
                      <a:pt x="1289046" y="55721"/>
                      <a:pt x="1291900" y="57150"/>
                    </a:cubicBezTo>
                    <a:cubicBezTo>
                      <a:pt x="1296181" y="58579"/>
                      <a:pt x="1299748" y="62151"/>
                      <a:pt x="1301175" y="65723"/>
                    </a:cubicBezTo>
                    <a:cubicBezTo>
                      <a:pt x="1303316" y="70723"/>
                      <a:pt x="1304029" y="77153"/>
                      <a:pt x="1304029" y="101442"/>
                    </a:cubicBezTo>
                    <a:cubicBezTo>
                      <a:pt x="1304029" y="177165"/>
                      <a:pt x="1270496" y="247889"/>
                      <a:pt x="1204144" y="310039"/>
                    </a:cubicBezTo>
                    <a:cubicBezTo>
                      <a:pt x="1202717" y="312182"/>
                      <a:pt x="1201290" y="314326"/>
                      <a:pt x="1200577" y="314326"/>
                    </a:cubicBezTo>
                    <a:cubicBezTo>
                      <a:pt x="1179887" y="336471"/>
                      <a:pt x="1189162" y="362189"/>
                      <a:pt x="1199150" y="385049"/>
                    </a:cubicBezTo>
                    <a:cubicBezTo>
                      <a:pt x="1199863" y="385763"/>
                      <a:pt x="1199863" y="386477"/>
                      <a:pt x="1200577" y="387192"/>
                    </a:cubicBezTo>
                    <a:cubicBezTo>
                      <a:pt x="1200577" y="387906"/>
                      <a:pt x="1200577" y="387906"/>
                      <a:pt x="1200577" y="387906"/>
                    </a:cubicBezTo>
                    <a:cubicBezTo>
                      <a:pt x="1202004" y="392192"/>
                      <a:pt x="1202004" y="397907"/>
                      <a:pt x="1199863" y="402194"/>
                    </a:cubicBezTo>
                    <a:cubicBezTo>
                      <a:pt x="1197010" y="407194"/>
                      <a:pt x="1192015" y="409338"/>
                      <a:pt x="1187021" y="410052"/>
                    </a:cubicBezTo>
                    <a:cubicBezTo>
                      <a:pt x="1149208" y="410052"/>
                      <a:pt x="991532" y="410766"/>
                      <a:pt x="825295" y="411481"/>
                    </a:cubicBezTo>
                    <a:cubicBezTo>
                      <a:pt x="559173" y="412909"/>
                      <a:pt x="262372" y="414338"/>
                      <a:pt x="235974" y="414338"/>
                    </a:cubicBezTo>
                    <a:cubicBezTo>
                      <a:pt x="183891" y="414338"/>
                      <a:pt x="142510" y="364332"/>
                      <a:pt x="128241" y="332899"/>
                    </a:cubicBezTo>
                    <a:cubicBezTo>
                      <a:pt x="118966" y="311468"/>
                      <a:pt x="66170" y="182880"/>
                      <a:pt x="28356" y="89297"/>
                    </a:cubicBezTo>
                    <a:cubicBezTo>
                      <a:pt x="16941" y="61436"/>
                      <a:pt x="6952" y="37148"/>
                      <a:pt x="1245" y="20717"/>
                    </a:cubicBezTo>
                    <a:cubicBezTo>
                      <a:pt x="-896" y="16431"/>
                      <a:pt x="-182" y="10716"/>
                      <a:pt x="2672" y="7144"/>
                    </a:cubicBezTo>
                    <a:cubicBezTo>
                      <a:pt x="5525" y="2858"/>
                      <a:pt x="9806" y="0"/>
                      <a:pt x="1480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4" name="Freeform 10">
                <a:extLst>
                  <a:ext uri="{FF2B5EF4-FFF2-40B4-BE49-F238E27FC236}">
                    <a16:creationId xmlns:a16="http://schemas.microsoft.com/office/drawing/2014/main" id="{19F42A27-8177-4211-AE36-8F2B1A2795D2}"/>
                  </a:ext>
                </a:extLst>
              </p:cNvPr>
              <p:cNvSpPr>
                <a:spLocks/>
              </p:cNvSpPr>
              <p:nvPr/>
            </p:nvSpPr>
            <p:spPr bwMode="auto">
              <a:xfrm>
                <a:off x="5683250" y="2976563"/>
                <a:ext cx="1056139" cy="715963"/>
              </a:xfrm>
              <a:custGeom>
                <a:avLst/>
                <a:gdLst>
                  <a:gd name="connsiteX0" fmla="*/ 860426 w 1056139"/>
                  <a:gd name="connsiteY0" fmla="*/ 623887 h 715963"/>
                  <a:gd name="connsiteX1" fmla="*/ 906464 w 1056139"/>
                  <a:gd name="connsiteY1" fmla="*/ 669925 h 715963"/>
                  <a:gd name="connsiteX2" fmla="*/ 860426 w 1056139"/>
                  <a:gd name="connsiteY2" fmla="*/ 715963 h 715963"/>
                  <a:gd name="connsiteX3" fmla="*/ 814388 w 1056139"/>
                  <a:gd name="connsiteY3" fmla="*/ 669925 h 715963"/>
                  <a:gd name="connsiteX4" fmla="*/ 860426 w 1056139"/>
                  <a:gd name="connsiteY4" fmla="*/ 623887 h 715963"/>
                  <a:gd name="connsiteX5" fmla="*/ 725488 w 1056139"/>
                  <a:gd name="connsiteY5" fmla="*/ 623887 h 715963"/>
                  <a:gd name="connsiteX6" fmla="*/ 771526 w 1056139"/>
                  <a:gd name="connsiteY6" fmla="*/ 669925 h 715963"/>
                  <a:gd name="connsiteX7" fmla="*/ 725488 w 1056139"/>
                  <a:gd name="connsiteY7" fmla="*/ 715963 h 715963"/>
                  <a:gd name="connsiteX8" fmla="*/ 679450 w 1056139"/>
                  <a:gd name="connsiteY8" fmla="*/ 669925 h 715963"/>
                  <a:gd name="connsiteX9" fmla="*/ 725488 w 1056139"/>
                  <a:gd name="connsiteY9" fmla="*/ 623887 h 715963"/>
                  <a:gd name="connsiteX10" fmla="*/ 590551 w 1056139"/>
                  <a:gd name="connsiteY10" fmla="*/ 623887 h 715963"/>
                  <a:gd name="connsiteX11" fmla="*/ 636589 w 1056139"/>
                  <a:gd name="connsiteY11" fmla="*/ 669925 h 715963"/>
                  <a:gd name="connsiteX12" fmla="*/ 590551 w 1056139"/>
                  <a:gd name="connsiteY12" fmla="*/ 715963 h 715963"/>
                  <a:gd name="connsiteX13" fmla="*/ 544513 w 1056139"/>
                  <a:gd name="connsiteY13" fmla="*/ 669925 h 715963"/>
                  <a:gd name="connsiteX14" fmla="*/ 590551 w 1056139"/>
                  <a:gd name="connsiteY14" fmla="*/ 623887 h 715963"/>
                  <a:gd name="connsiteX15" fmla="*/ 528684 w 1056139"/>
                  <a:gd name="connsiteY15" fmla="*/ 377825 h 715963"/>
                  <a:gd name="connsiteX16" fmla="*/ 712031 w 1056139"/>
                  <a:gd name="connsiteY16" fmla="*/ 377825 h 715963"/>
                  <a:gd name="connsiteX17" fmla="*/ 719138 w 1056139"/>
                  <a:gd name="connsiteY17" fmla="*/ 384986 h 715963"/>
                  <a:gd name="connsiteX18" fmla="*/ 719138 w 1056139"/>
                  <a:gd name="connsiteY18" fmla="*/ 502427 h 715963"/>
                  <a:gd name="connsiteX19" fmla="*/ 712031 w 1056139"/>
                  <a:gd name="connsiteY19" fmla="*/ 509588 h 715963"/>
                  <a:gd name="connsiteX20" fmla="*/ 528684 w 1056139"/>
                  <a:gd name="connsiteY20" fmla="*/ 509588 h 715963"/>
                  <a:gd name="connsiteX21" fmla="*/ 522288 w 1056139"/>
                  <a:gd name="connsiteY21" fmla="*/ 502427 h 715963"/>
                  <a:gd name="connsiteX22" fmla="*/ 522288 w 1056139"/>
                  <a:gd name="connsiteY22" fmla="*/ 384986 h 715963"/>
                  <a:gd name="connsiteX23" fmla="*/ 528684 w 1056139"/>
                  <a:gd name="connsiteY23" fmla="*/ 377825 h 715963"/>
                  <a:gd name="connsiteX24" fmla="*/ 6392 w 1056139"/>
                  <a:gd name="connsiteY24" fmla="*/ 298450 h 715963"/>
                  <a:gd name="connsiteX25" fmla="*/ 208798 w 1056139"/>
                  <a:gd name="connsiteY25" fmla="*/ 298450 h 715963"/>
                  <a:gd name="connsiteX26" fmla="*/ 215900 w 1056139"/>
                  <a:gd name="connsiteY26" fmla="*/ 304866 h 715963"/>
                  <a:gd name="connsiteX27" fmla="*/ 215900 w 1056139"/>
                  <a:gd name="connsiteY27" fmla="*/ 446022 h 715963"/>
                  <a:gd name="connsiteX28" fmla="*/ 208798 w 1056139"/>
                  <a:gd name="connsiteY28" fmla="*/ 452438 h 715963"/>
                  <a:gd name="connsiteX29" fmla="*/ 6392 w 1056139"/>
                  <a:gd name="connsiteY29" fmla="*/ 452438 h 715963"/>
                  <a:gd name="connsiteX30" fmla="*/ 0 w 1056139"/>
                  <a:gd name="connsiteY30" fmla="*/ 446022 h 715963"/>
                  <a:gd name="connsiteX31" fmla="*/ 0 w 1056139"/>
                  <a:gd name="connsiteY31" fmla="*/ 304866 h 715963"/>
                  <a:gd name="connsiteX32" fmla="*/ 6392 w 1056139"/>
                  <a:gd name="connsiteY32" fmla="*/ 298450 h 715963"/>
                  <a:gd name="connsiteX33" fmla="*/ 277026 w 1056139"/>
                  <a:gd name="connsiteY33" fmla="*/ 242887 h 715963"/>
                  <a:gd name="connsiteX34" fmla="*/ 486561 w 1056139"/>
                  <a:gd name="connsiteY34" fmla="*/ 242887 h 715963"/>
                  <a:gd name="connsiteX35" fmla="*/ 493713 w 1056139"/>
                  <a:gd name="connsiteY35" fmla="*/ 250018 h 715963"/>
                  <a:gd name="connsiteX36" fmla="*/ 493713 w 1056139"/>
                  <a:gd name="connsiteY36" fmla="*/ 502456 h 715963"/>
                  <a:gd name="connsiteX37" fmla="*/ 486561 w 1056139"/>
                  <a:gd name="connsiteY37" fmla="*/ 509587 h 715963"/>
                  <a:gd name="connsiteX38" fmla="*/ 277026 w 1056139"/>
                  <a:gd name="connsiteY38" fmla="*/ 509587 h 715963"/>
                  <a:gd name="connsiteX39" fmla="*/ 269875 w 1056139"/>
                  <a:gd name="connsiteY39" fmla="*/ 502456 h 715963"/>
                  <a:gd name="connsiteX40" fmla="*/ 269875 w 1056139"/>
                  <a:gd name="connsiteY40" fmla="*/ 250018 h 715963"/>
                  <a:gd name="connsiteX41" fmla="*/ 277026 w 1056139"/>
                  <a:gd name="connsiteY41" fmla="*/ 242887 h 715963"/>
                  <a:gd name="connsiteX42" fmla="*/ 913720 w 1056139"/>
                  <a:gd name="connsiteY42" fmla="*/ 225425 h 715963"/>
                  <a:gd name="connsiteX43" fmla="*/ 906463 w 1056139"/>
                  <a:gd name="connsiteY43" fmla="*/ 232536 h 715963"/>
                  <a:gd name="connsiteX44" fmla="*/ 906463 w 1056139"/>
                  <a:gd name="connsiteY44" fmla="*/ 287288 h 715963"/>
                  <a:gd name="connsiteX45" fmla="*/ 913720 w 1056139"/>
                  <a:gd name="connsiteY45" fmla="*/ 293688 h 715963"/>
                  <a:gd name="connsiteX46" fmla="*/ 950006 w 1056139"/>
                  <a:gd name="connsiteY46" fmla="*/ 293688 h 715963"/>
                  <a:gd name="connsiteX47" fmla="*/ 957263 w 1056139"/>
                  <a:gd name="connsiteY47" fmla="*/ 287288 h 715963"/>
                  <a:gd name="connsiteX48" fmla="*/ 957263 w 1056139"/>
                  <a:gd name="connsiteY48" fmla="*/ 232536 h 715963"/>
                  <a:gd name="connsiteX49" fmla="*/ 950006 w 1056139"/>
                  <a:gd name="connsiteY49" fmla="*/ 225425 h 715963"/>
                  <a:gd name="connsiteX50" fmla="*/ 913720 w 1056139"/>
                  <a:gd name="connsiteY50" fmla="*/ 225425 h 715963"/>
                  <a:gd name="connsiteX51" fmla="*/ 845333 w 1056139"/>
                  <a:gd name="connsiteY51" fmla="*/ 225425 h 715963"/>
                  <a:gd name="connsiteX52" fmla="*/ 838200 w 1056139"/>
                  <a:gd name="connsiteY52" fmla="*/ 232536 h 715963"/>
                  <a:gd name="connsiteX53" fmla="*/ 838200 w 1056139"/>
                  <a:gd name="connsiteY53" fmla="*/ 287288 h 715963"/>
                  <a:gd name="connsiteX54" fmla="*/ 845333 w 1056139"/>
                  <a:gd name="connsiteY54" fmla="*/ 293688 h 715963"/>
                  <a:gd name="connsiteX55" fmla="*/ 880281 w 1056139"/>
                  <a:gd name="connsiteY55" fmla="*/ 293688 h 715963"/>
                  <a:gd name="connsiteX56" fmla="*/ 887413 w 1056139"/>
                  <a:gd name="connsiteY56" fmla="*/ 287288 h 715963"/>
                  <a:gd name="connsiteX57" fmla="*/ 887413 w 1056139"/>
                  <a:gd name="connsiteY57" fmla="*/ 232536 h 715963"/>
                  <a:gd name="connsiteX58" fmla="*/ 880281 w 1056139"/>
                  <a:gd name="connsiteY58" fmla="*/ 225425 h 715963"/>
                  <a:gd name="connsiteX59" fmla="*/ 845333 w 1056139"/>
                  <a:gd name="connsiteY59" fmla="*/ 225425 h 715963"/>
                  <a:gd name="connsiteX60" fmla="*/ 528684 w 1056139"/>
                  <a:gd name="connsiteY60" fmla="*/ 207962 h 715963"/>
                  <a:gd name="connsiteX61" fmla="*/ 712031 w 1056139"/>
                  <a:gd name="connsiteY61" fmla="*/ 207962 h 715963"/>
                  <a:gd name="connsiteX62" fmla="*/ 719138 w 1056139"/>
                  <a:gd name="connsiteY62" fmla="*/ 215149 h 715963"/>
                  <a:gd name="connsiteX63" fmla="*/ 719138 w 1056139"/>
                  <a:gd name="connsiteY63" fmla="*/ 345238 h 715963"/>
                  <a:gd name="connsiteX64" fmla="*/ 712031 w 1056139"/>
                  <a:gd name="connsiteY64" fmla="*/ 352425 h 715963"/>
                  <a:gd name="connsiteX65" fmla="*/ 528684 w 1056139"/>
                  <a:gd name="connsiteY65" fmla="*/ 352425 h 715963"/>
                  <a:gd name="connsiteX66" fmla="*/ 522288 w 1056139"/>
                  <a:gd name="connsiteY66" fmla="*/ 345238 h 715963"/>
                  <a:gd name="connsiteX67" fmla="*/ 522288 w 1056139"/>
                  <a:gd name="connsiteY67" fmla="*/ 215149 h 715963"/>
                  <a:gd name="connsiteX68" fmla="*/ 528684 w 1056139"/>
                  <a:gd name="connsiteY68" fmla="*/ 207962 h 715963"/>
                  <a:gd name="connsiteX69" fmla="*/ 897377 w 1056139"/>
                  <a:gd name="connsiteY69" fmla="*/ 0 h 715963"/>
                  <a:gd name="connsiteX70" fmla="*/ 912301 w 1056139"/>
                  <a:gd name="connsiteY70" fmla="*/ 15702 h 715963"/>
                  <a:gd name="connsiteX71" fmla="*/ 912301 w 1056139"/>
                  <a:gd name="connsiteY71" fmla="*/ 117048 h 715963"/>
                  <a:gd name="connsiteX72" fmla="*/ 1040220 w 1056139"/>
                  <a:gd name="connsiteY72" fmla="*/ 117048 h 715963"/>
                  <a:gd name="connsiteX73" fmla="*/ 1054434 w 1056139"/>
                  <a:gd name="connsiteY73" fmla="*/ 125613 h 715963"/>
                  <a:gd name="connsiteX74" fmla="*/ 1052302 w 1056139"/>
                  <a:gd name="connsiteY74" fmla="*/ 141314 h 715963"/>
                  <a:gd name="connsiteX75" fmla="*/ 1020322 w 1056139"/>
                  <a:gd name="connsiteY75" fmla="*/ 181282 h 715963"/>
                  <a:gd name="connsiteX76" fmla="*/ 1020322 w 1056139"/>
                  <a:gd name="connsiteY76" fmla="*/ 509588 h 715963"/>
                  <a:gd name="connsiteX77" fmla="*/ 1005398 w 1056139"/>
                  <a:gd name="connsiteY77" fmla="*/ 509588 h 715963"/>
                  <a:gd name="connsiteX78" fmla="*/ 989763 w 1056139"/>
                  <a:gd name="connsiteY78" fmla="*/ 509588 h 715963"/>
                  <a:gd name="connsiteX79" fmla="*/ 804991 w 1056139"/>
                  <a:gd name="connsiteY79" fmla="*/ 509588 h 715963"/>
                  <a:gd name="connsiteX80" fmla="*/ 790067 w 1056139"/>
                  <a:gd name="connsiteY80" fmla="*/ 509588 h 715963"/>
                  <a:gd name="connsiteX81" fmla="*/ 775143 w 1056139"/>
                  <a:gd name="connsiteY81" fmla="*/ 509588 h 715963"/>
                  <a:gd name="connsiteX82" fmla="*/ 775143 w 1056139"/>
                  <a:gd name="connsiteY82" fmla="*/ 181282 h 715963"/>
                  <a:gd name="connsiteX83" fmla="*/ 743163 w 1056139"/>
                  <a:gd name="connsiteY83" fmla="*/ 141314 h 715963"/>
                  <a:gd name="connsiteX84" fmla="*/ 741031 w 1056139"/>
                  <a:gd name="connsiteY84" fmla="*/ 125613 h 715963"/>
                  <a:gd name="connsiteX85" fmla="*/ 754534 w 1056139"/>
                  <a:gd name="connsiteY85" fmla="*/ 117048 h 715963"/>
                  <a:gd name="connsiteX86" fmla="*/ 881742 w 1056139"/>
                  <a:gd name="connsiteY86" fmla="*/ 117048 h 715963"/>
                  <a:gd name="connsiteX87" fmla="*/ 881742 w 1056139"/>
                  <a:gd name="connsiteY87" fmla="*/ 15702 h 715963"/>
                  <a:gd name="connsiteX88" fmla="*/ 897377 w 1056139"/>
                  <a:gd name="connsiteY88" fmla="*/ 0 h 71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56139" h="715963">
                    <a:moveTo>
                      <a:pt x="860426" y="623887"/>
                    </a:moveTo>
                    <a:cubicBezTo>
                      <a:pt x="885852" y="623887"/>
                      <a:pt x="906464" y="644499"/>
                      <a:pt x="906464" y="669925"/>
                    </a:cubicBezTo>
                    <a:cubicBezTo>
                      <a:pt x="906464" y="695351"/>
                      <a:pt x="885852" y="715963"/>
                      <a:pt x="860426" y="715963"/>
                    </a:cubicBezTo>
                    <a:cubicBezTo>
                      <a:pt x="835000" y="715963"/>
                      <a:pt x="814388" y="695351"/>
                      <a:pt x="814388" y="669925"/>
                    </a:cubicBezTo>
                    <a:cubicBezTo>
                      <a:pt x="814388" y="644499"/>
                      <a:pt x="835000" y="623887"/>
                      <a:pt x="860426" y="623887"/>
                    </a:cubicBezTo>
                    <a:close/>
                    <a:moveTo>
                      <a:pt x="725488" y="623887"/>
                    </a:moveTo>
                    <a:cubicBezTo>
                      <a:pt x="750914" y="623887"/>
                      <a:pt x="771526" y="644499"/>
                      <a:pt x="771526" y="669925"/>
                    </a:cubicBezTo>
                    <a:cubicBezTo>
                      <a:pt x="771526" y="695351"/>
                      <a:pt x="750914" y="715963"/>
                      <a:pt x="725488" y="715963"/>
                    </a:cubicBezTo>
                    <a:cubicBezTo>
                      <a:pt x="700062" y="715963"/>
                      <a:pt x="679450" y="695351"/>
                      <a:pt x="679450" y="669925"/>
                    </a:cubicBezTo>
                    <a:cubicBezTo>
                      <a:pt x="679450" y="644499"/>
                      <a:pt x="700062" y="623887"/>
                      <a:pt x="725488" y="623887"/>
                    </a:cubicBezTo>
                    <a:close/>
                    <a:moveTo>
                      <a:pt x="590551" y="623887"/>
                    </a:moveTo>
                    <a:cubicBezTo>
                      <a:pt x="615977" y="623887"/>
                      <a:pt x="636589" y="644499"/>
                      <a:pt x="636589" y="669925"/>
                    </a:cubicBezTo>
                    <a:cubicBezTo>
                      <a:pt x="636589" y="695351"/>
                      <a:pt x="615977" y="715963"/>
                      <a:pt x="590551" y="715963"/>
                    </a:cubicBezTo>
                    <a:cubicBezTo>
                      <a:pt x="565125" y="715963"/>
                      <a:pt x="544513" y="695351"/>
                      <a:pt x="544513" y="669925"/>
                    </a:cubicBezTo>
                    <a:cubicBezTo>
                      <a:pt x="544513" y="644499"/>
                      <a:pt x="565125" y="623887"/>
                      <a:pt x="590551" y="623887"/>
                    </a:cubicBezTo>
                    <a:close/>
                    <a:moveTo>
                      <a:pt x="528684" y="377825"/>
                    </a:moveTo>
                    <a:cubicBezTo>
                      <a:pt x="528684" y="377825"/>
                      <a:pt x="528684" y="377825"/>
                      <a:pt x="712031" y="377825"/>
                    </a:cubicBezTo>
                    <a:cubicBezTo>
                      <a:pt x="716295" y="377825"/>
                      <a:pt x="719138" y="380690"/>
                      <a:pt x="719138" y="384986"/>
                    </a:cubicBezTo>
                    <a:cubicBezTo>
                      <a:pt x="719138" y="384986"/>
                      <a:pt x="719138" y="384986"/>
                      <a:pt x="719138" y="502427"/>
                    </a:cubicBezTo>
                    <a:cubicBezTo>
                      <a:pt x="719138" y="506724"/>
                      <a:pt x="716295" y="509588"/>
                      <a:pt x="712031" y="509588"/>
                    </a:cubicBezTo>
                    <a:cubicBezTo>
                      <a:pt x="712031" y="509588"/>
                      <a:pt x="712031" y="509588"/>
                      <a:pt x="528684" y="509588"/>
                    </a:cubicBezTo>
                    <a:cubicBezTo>
                      <a:pt x="525841" y="509588"/>
                      <a:pt x="522288" y="506724"/>
                      <a:pt x="522288" y="502427"/>
                    </a:cubicBezTo>
                    <a:cubicBezTo>
                      <a:pt x="522288" y="502427"/>
                      <a:pt x="522288" y="502427"/>
                      <a:pt x="522288" y="384986"/>
                    </a:cubicBezTo>
                    <a:cubicBezTo>
                      <a:pt x="522288" y="380690"/>
                      <a:pt x="525841" y="377825"/>
                      <a:pt x="528684" y="377825"/>
                    </a:cubicBezTo>
                    <a:close/>
                    <a:moveTo>
                      <a:pt x="6392" y="298450"/>
                    </a:moveTo>
                    <a:cubicBezTo>
                      <a:pt x="6392" y="298450"/>
                      <a:pt x="6392" y="298450"/>
                      <a:pt x="208798" y="298450"/>
                    </a:cubicBezTo>
                    <a:cubicBezTo>
                      <a:pt x="213059" y="298450"/>
                      <a:pt x="215900" y="300589"/>
                      <a:pt x="215900" y="304866"/>
                    </a:cubicBezTo>
                    <a:cubicBezTo>
                      <a:pt x="215900" y="304866"/>
                      <a:pt x="215900" y="304866"/>
                      <a:pt x="215900" y="446022"/>
                    </a:cubicBezTo>
                    <a:cubicBezTo>
                      <a:pt x="215900" y="449587"/>
                      <a:pt x="213059" y="452438"/>
                      <a:pt x="208798" y="452438"/>
                    </a:cubicBezTo>
                    <a:cubicBezTo>
                      <a:pt x="208798" y="452438"/>
                      <a:pt x="208798" y="452438"/>
                      <a:pt x="6392" y="452438"/>
                    </a:cubicBezTo>
                    <a:cubicBezTo>
                      <a:pt x="2841" y="452438"/>
                      <a:pt x="0" y="449587"/>
                      <a:pt x="0" y="446022"/>
                    </a:cubicBezTo>
                    <a:cubicBezTo>
                      <a:pt x="0" y="446022"/>
                      <a:pt x="0" y="446022"/>
                      <a:pt x="0" y="304866"/>
                    </a:cubicBezTo>
                    <a:cubicBezTo>
                      <a:pt x="0" y="300589"/>
                      <a:pt x="2841" y="298450"/>
                      <a:pt x="6392" y="298450"/>
                    </a:cubicBezTo>
                    <a:close/>
                    <a:moveTo>
                      <a:pt x="277026" y="242887"/>
                    </a:moveTo>
                    <a:cubicBezTo>
                      <a:pt x="277026" y="242887"/>
                      <a:pt x="277026" y="242887"/>
                      <a:pt x="486561" y="242887"/>
                    </a:cubicBezTo>
                    <a:cubicBezTo>
                      <a:pt x="490852" y="242887"/>
                      <a:pt x="493713" y="245740"/>
                      <a:pt x="493713" y="250018"/>
                    </a:cubicBezTo>
                    <a:cubicBezTo>
                      <a:pt x="493713" y="250018"/>
                      <a:pt x="493713" y="250018"/>
                      <a:pt x="493713" y="502456"/>
                    </a:cubicBezTo>
                    <a:cubicBezTo>
                      <a:pt x="493713" y="506735"/>
                      <a:pt x="490852" y="509587"/>
                      <a:pt x="486561" y="509587"/>
                    </a:cubicBezTo>
                    <a:cubicBezTo>
                      <a:pt x="486561" y="509587"/>
                      <a:pt x="486561" y="509587"/>
                      <a:pt x="277026" y="509587"/>
                    </a:cubicBezTo>
                    <a:cubicBezTo>
                      <a:pt x="273450" y="509587"/>
                      <a:pt x="269875" y="506735"/>
                      <a:pt x="269875" y="502456"/>
                    </a:cubicBezTo>
                    <a:cubicBezTo>
                      <a:pt x="269875" y="502456"/>
                      <a:pt x="269875" y="502456"/>
                      <a:pt x="269875" y="250018"/>
                    </a:cubicBezTo>
                    <a:cubicBezTo>
                      <a:pt x="269875" y="245740"/>
                      <a:pt x="273450" y="242887"/>
                      <a:pt x="277026" y="242887"/>
                    </a:cubicBezTo>
                    <a:close/>
                    <a:moveTo>
                      <a:pt x="913720" y="225425"/>
                    </a:moveTo>
                    <a:cubicBezTo>
                      <a:pt x="909366" y="225425"/>
                      <a:pt x="906463" y="228980"/>
                      <a:pt x="906463" y="232536"/>
                    </a:cubicBezTo>
                    <a:cubicBezTo>
                      <a:pt x="906463" y="232536"/>
                      <a:pt x="906463" y="232536"/>
                      <a:pt x="906463" y="287288"/>
                    </a:cubicBezTo>
                    <a:cubicBezTo>
                      <a:pt x="906463" y="290844"/>
                      <a:pt x="909366" y="293688"/>
                      <a:pt x="913720" y="293688"/>
                    </a:cubicBezTo>
                    <a:cubicBezTo>
                      <a:pt x="913720" y="293688"/>
                      <a:pt x="913720" y="293688"/>
                      <a:pt x="950006" y="293688"/>
                    </a:cubicBezTo>
                    <a:cubicBezTo>
                      <a:pt x="954360" y="293688"/>
                      <a:pt x="957263" y="290844"/>
                      <a:pt x="957263" y="287288"/>
                    </a:cubicBezTo>
                    <a:cubicBezTo>
                      <a:pt x="957263" y="287288"/>
                      <a:pt x="957263" y="287288"/>
                      <a:pt x="957263" y="232536"/>
                    </a:cubicBezTo>
                    <a:cubicBezTo>
                      <a:pt x="957263" y="228980"/>
                      <a:pt x="954360" y="225425"/>
                      <a:pt x="950006" y="225425"/>
                    </a:cubicBezTo>
                    <a:cubicBezTo>
                      <a:pt x="950006" y="225425"/>
                      <a:pt x="950006" y="225425"/>
                      <a:pt x="913720" y="225425"/>
                    </a:cubicBezTo>
                    <a:close/>
                    <a:moveTo>
                      <a:pt x="845333" y="225425"/>
                    </a:moveTo>
                    <a:cubicBezTo>
                      <a:pt x="841053" y="225425"/>
                      <a:pt x="838200" y="228980"/>
                      <a:pt x="838200" y="232536"/>
                    </a:cubicBezTo>
                    <a:cubicBezTo>
                      <a:pt x="838200" y="232536"/>
                      <a:pt x="838200" y="232536"/>
                      <a:pt x="838200" y="287288"/>
                    </a:cubicBezTo>
                    <a:cubicBezTo>
                      <a:pt x="838200" y="290844"/>
                      <a:pt x="841053" y="293688"/>
                      <a:pt x="845333" y="293688"/>
                    </a:cubicBezTo>
                    <a:cubicBezTo>
                      <a:pt x="845333" y="293688"/>
                      <a:pt x="845333" y="293688"/>
                      <a:pt x="880281" y="293688"/>
                    </a:cubicBezTo>
                    <a:cubicBezTo>
                      <a:pt x="884560" y="293688"/>
                      <a:pt x="887413" y="290844"/>
                      <a:pt x="887413" y="287288"/>
                    </a:cubicBezTo>
                    <a:cubicBezTo>
                      <a:pt x="887413" y="287288"/>
                      <a:pt x="887413" y="287288"/>
                      <a:pt x="887413" y="232536"/>
                    </a:cubicBezTo>
                    <a:cubicBezTo>
                      <a:pt x="887413" y="228980"/>
                      <a:pt x="884560" y="225425"/>
                      <a:pt x="880281" y="225425"/>
                    </a:cubicBezTo>
                    <a:cubicBezTo>
                      <a:pt x="880281" y="225425"/>
                      <a:pt x="880281" y="225425"/>
                      <a:pt x="845333" y="225425"/>
                    </a:cubicBezTo>
                    <a:close/>
                    <a:moveTo>
                      <a:pt x="528684" y="207962"/>
                    </a:moveTo>
                    <a:cubicBezTo>
                      <a:pt x="528684" y="207962"/>
                      <a:pt x="528684" y="207962"/>
                      <a:pt x="712031" y="207962"/>
                    </a:cubicBezTo>
                    <a:cubicBezTo>
                      <a:pt x="716295" y="207962"/>
                      <a:pt x="719138" y="210837"/>
                      <a:pt x="719138" y="215149"/>
                    </a:cubicBezTo>
                    <a:cubicBezTo>
                      <a:pt x="719138" y="215149"/>
                      <a:pt x="719138" y="215149"/>
                      <a:pt x="719138" y="345238"/>
                    </a:cubicBezTo>
                    <a:cubicBezTo>
                      <a:pt x="719138" y="349550"/>
                      <a:pt x="716295" y="352425"/>
                      <a:pt x="712031" y="352425"/>
                    </a:cubicBezTo>
                    <a:cubicBezTo>
                      <a:pt x="712031" y="352425"/>
                      <a:pt x="712031" y="352425"/>
                      <a:pt x="528684" y="352425"/>
                    </a:cubicBezTo>
                    <a:cubicBezTo>
                      <a:pt x="525841" y="352425"/>
                      <a:pt x="522288" y="349550"/>
                      <a:pt x="522288" y="345238"/>
                    </a:cubicBezTo>
                    <a:cubicBezTo>
                      <a:pt x="522288" y="345238"/>
                      <a:pt x="522288" y="345238"/>
                      <a:pt x="522288" y="215149"/>
                    </a:cubicBezTo>
                    <a:cubicBezTo>
                      <a:pt x="522288" y="210837"/>
                      <a:pt x="525841" y="207962"/>
                      <a:pt x="528684" y="207962"/>
                    </a:cubicBezTo>
                    <a:close/>
                    <a:moveTo>
                      <a:pt x="897377" y="0"/>
                    </a:moveTo>
                    <a:cubicBezTo>
                      <a:pt x="906616" y="0"/>
                      <a:pt x="912301" y="7137"/>
                      <a:pt x="912301" y="15702"/>
                    </a:cubicBezTo>
                    <a:cubicBezTo>
                      <a:pt x="912301" y="15702"/>
                      <a:pt x="912301" y="15702"/>
                      <a:pt x="912301" y="117048"/>
                    </a:cubicBezTo>
                    <a:cubicBezTo>
                      <a:pt x="912301" y="117048"/>
                      <a:pt x="912301" y="117048"/>
                      <a:pt x="1040220" y="117048"/>
                    </a:cubicBezTo>
                    <a:cubicBezTo>
                      <a:pt x="1046616" y="117048"/>
                      <a:pt x="1051591" y="119903"/>
                      <a:pt x="1054434" y="125613"/>
                    </a:cubicBezTo>
                    <a:cubicBezTo>
                      <a:pt x="1057276" y="130609"/>
                      <a:pt x="1056566" y="137032"/>
                      <a:pt x="1052302" y="141314"/>
                    </a:cubicBezTo>
                    <a:cubicBezTo>
                      <a:pt x="1052302" y="141314"/>
                      <a:pt x="1052302" y="141314"/>
                      <a:pt x="1020322" y="181282"/>
                    </a:cubicBezTo>
                    <a:cubicBezTo>
                      <a:pt x="1020322" y="181282"/>
                      <a:pt x="1020322" y="181282"/>
                      <a:pt x="1020322" y="509588"/>
                    </a:cubicBezTo>
                    <a:cubicBezTo>
                      <a:pt x="1020322" y="509588"/>
                      <a:pt x="1020322" y="509588"/>
                      <a:pt x="1005398" y="509588"/>
                    </a:cubicBezTo>
                    <a:cubicBezTo>
                      <a:pt x="1005398" y="509588"/>
                      <a:pt x="1005398" y="509588"/>
                      <a:pt x="989763" y="509588"/>
                    </a:cubicBezTo>
                    <a:cubicBezTo>
                      <a:pt x="989763" y="509588"/>
                      <a:pt x="989763" y="509588"/>
                      <a:pt x="804991" y="509588"/>
                    </a:cubicBezTo>
                    <a:cubicBezTo>
                      <a:pt x="804991" y="509588"/>
                      <a:pt x="804991" y="509588"/>
                      <a:pt x="790067" y="509588"/>
                    </a:cubicBezTo>
                    <a:cubicBezTo>
                      <a:pt x="790067" y="509588"/>
                      <a:pt x="790067" y="509588"/>
                      <a:pt x="775143" y="509588"/>
                    </a:cubicBezTo>
                    <a:cubicBezTo>
                      <a:pt x="775143" y="509588"/>
                      <a:pt x="775143" y="509588"/>
                      <a:pt x="775143" y="181282"/>
                    </a:cubicBezTo>
                    <a:cubicBezTo>
                      <a:pt x="775143" y="181282"/>
                      <a:pt x="775143" y="181282"/>
                      <a:pt x="743163" y="141314"/>
                    </a:cubicBezTo>
                    <a:cubicBezTo>
                      <a:pt x="738899" y="137032"/>
                      <a:pt x="738188" y="130609"/>
                      <a:pt x="741031" y="125613"/>
                    </a:cubicBezTo>
                    <a:cubicBezTo>
                      <a:pt x="743163" y="119903"/>
                      <a:pt x="748848" y="117048"/>
                      <a:pt x="754534" y="117048"/>
                    </a:cubicBezTo>
                    <a:cubicBezTo>
                      <a:pt x="754534" y="117048"/>
                      <a:pt x="754534" y="117048"/>
                      <a:pt x="881742" y="117048"/>
                    </a:cubicBezTo>
                    <a:cubicBezTo>
                      <a:pt x="881742" y="117048"/>
                      <a:pt x="881742" y="117048"/>
                      <a:pt x="881742" y="15702"/>
                    </a:cubicBezTo>
                    <a:cubicBezTo>
                      <a:pt x="881742" y="7137"/>
                      <a:pt x="888849" y="0"/>
                      <a:pt x="89737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80298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NAME" val="Rise Grid 16:9"/>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vDVTaVd8hb6b1kRSdaZ3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qWAixli0Adpsnkjav4Q9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XHX5xNumWWBR_ix_SOR0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KQtrZwWvhvkh_4nn7NL7Q"/>
</p:tagLst>
</file>

<file path=ppt/tags/tag10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GhCTCyY5ka1NZJCIrPqtw"/>
</p:tagLst>
</file>

<file path=ppt/tags/tag11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9ZejRRTtsaIvYfJ42lQGg"/>
</p:tagLst>
</file>

<file path=ppt/tags/tag1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VWVDJk78UFFitwmr5RPzg"/>
</p:tagLst>
</file>

<file path=ppt/tags/tag1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ylewG0rYLOysctow_UB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R4jsvNT8gbl8S32XQdSJQ"/>
</p:tagLst>
</file>

<file path=ppt/tags/tag12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hHtS22evfAbGXgwkm05fQ"/>
</p:tagLst>
</file>

<file path=ppt/tags/tag1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i.b3Q7WZMsowRJNC6Eg0Q"/>
</p:tagLst>
</file>

<file path=ppt/tags/tag1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9Bu3tQkmFpae3ot_Gu12w"/>
</p:tagLst>
</file>

<file path=ppt/tags/tag13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KVzVRzB1wvdz2Uj1l5Ivw"/>
</p:tagLst>
</file>

<file path=ppt/tags/tag1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nnsyDiPN9qq.TKtBYbKhw"/>
</p:tagLst>
</file>

<file path=ppt/tags/tag1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zv3_Ti_SSPNpj_.p1vScA"/>
</p:tagLst>
</file>

<file path=ppt/tags/tag1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Jsul38QGKe9qFkv.C_gVw"/>
</p:tagLst>
</file>

<file path=ppt/tags/tag1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Uuzkw_ap44LjO7GeemWpw"/>
</p:tagLst>
</file>

<file path=ppt/tags/tag1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arida0.WbMien2ohjlV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5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tcTr36Fjl.eNcPcJyIyp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AK7pux3R5UKndXN65nG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f.dbaS93ZS_TstWnBvRyxQ"/>
</p:tagLst>
</file>

<file path=ppt/tags/tag18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AK7pux3R5UKndXN65nGB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Nh1AAodlnZEGoDgIuKxeo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Nh1AAodlnZEGoDgIuKxeo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ESxuA1vhyTuMNenmAt2UL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QFDKKyEzsUi9IotVVLycg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75sajuPaMEytX.rRzyp2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SxuA1vhyTuMNenmAt2UL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QFDKKyEzsUi9IotVVLycg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75sajuPaMEytX.rRzyp2t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75sajuPaMEytX.rRzyp2t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_fTgsjaq2QDlzByLQuN0Jw"/>
</p:tagLst>
</file>

<file path=ppt/tags/tag209.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QHYCmNPJ1_60Y44y2nj2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_fTgsjaq2QDlzByLQuN0Jw"/>
</p:tagLst>
</file>

<file path=ppt/tags/tag212.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fTgsjaq2QDlzByLQuN0Jw"/>
</p:tagLst>
</file>

<file path=ppt/tags/tag215.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_fTgsjaq2QDlzByLQuN0Jw"/>
</p:tagLst>
</file>

<file path=ppt/tags/tag218.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_fTgsjaq2QDlzByLQuN0J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_fTgsjaq2QDlzByLQuN0Jw"/>
</p:tagLst>
</file>

<file path=ppt/tags/tag226.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_fTgsjaq2QDlzByLQuN0Jw"/>
</p:tagLst>
</file>

<file path=ppt/tags/tag229.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Npm0omy_vDNFr.4VBiY6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_fTgsjaq2QDlzByLQuN0J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gUNsodjj.QPTiuploe4pw"/>
</p:tagLst>
</file>

<file path=ppt/tags/tag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2n3j2WYj2xgWh9uXaBp.w"/>
</p:tagLst>
</file>

<file path=ppt/tags/tag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ysbL2kDu37Ie2iYfxDk6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TBMAoXpwp0MLMBSSfgU.Q"/>
</p:tagLst>
</file>

<file path=ppt/tags/tag3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pEaXaohsYZv4amqbi7rnQ"/>
</p:tagLst>
</file>

<file path=ppt/tags/tag3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ytJwQgKnHBBwz0zTi0CVA"/>
</p:tagLst>
</file>

<file path=ppt/tags/tag3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dLEoRbBiv9uxZhl_Ac9bw"/>
</p:tagLst>
</file>

<file path=ppt/tags/tag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uhx7PPmrp8U2eb7SABrvA"/>
</p:tagLst>
</file>

<file path=ppt/tags/tag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4GgjYdcUyh3ZbmavHKSGg"/>
</p:tagLst>
</file>

<file path=ppt/tags/tag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xKYKMF31Zrq0szm8uNM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HDByHbBEFQKVdsPdqbn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XawhgbDSRt80NqDCJRt6w"/>
</p:tagLst>
</file>

<file path=ppt/tags/tag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IVvcX.q1snGKHm2IXVuog"/>
</p:tagLst>
</file>

<file path=ppt/tags/tag5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NJ7E1Lfyjf3sK0zFEiI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L1uhY_4hbsk0c6fn7YDFw"/>
</p:tagLst>
</file>

<file path=ppt/tags/tag6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LtVUnszVJovAG30yYQOA"/>
</p:tagLst>
</file>

<file path=ppt/tags/tag6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N8FSHYFfwxmnJFS1WsnXg"/>
</p:tagLst>
</file>

<file path=ppt/tags/tag6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6.iYUyxGfzTf2UeLRiLdQ"/>
</p:tagLst>
</file>

<file path=ppt/tags/tag7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ZZlA1C3R1r3Xtko3AlV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uEBLybNeUsZEHrARQWx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uEBLybNeUsZEHrARQWxq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Tnviuvppfp_f9X8JqZoPQ"/>
</p:tagLst>
</file>

<file path=ppt/theme/theme1.xml><?xml version="1.0" encoding="utf-8"?>
<a:theme xmlns:a="http://schemas.openxmlformats.org/drawingml/2006/main" name="Nice Grid 16:9">
  <a:themeElements>
    <a:clrScheme name="Rise">
      <a:dk1>
        <a:srgbClr val="000000"/>
      </a:dk1>
      <a:lt1>
        <a:sysClr val="window" lastClr="FFFFFF"/>
      </a:lt1>
      <a:dk2>
        <a:srgbClr val="171D3C"/>
      </a:dk2>
      <a:lt2>
        <a:srgbClr val="F2F2F2"/>
      </a:lt2>
      <a:accent1>
        <a:srgbClr val="0F1327"/>
      </a:accent1>
      <a:accent2>
        <a:srgbClr val="2A356C"/>
      </a:accent2>
      <a:accent3>
        <a:srgbClr val="31DB89"/>
      </a:accent3>
      <a:accent4>
        <a:srgbClr val="394893"/>
      </a:accent4>
      <a:accent5>
        <a:srgbClr val="7F7F7F"/>
      </a:accent5>
      <a:accent6>
        <a:srgbClr val="FFFF00"/>
      </a:accent6>
      <a:hlink>
        <a:srgbClr val="1C9C5F"/>
      </a:hlink>
      <a:folHlink>
        <a:srgbClr val="1C9C5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1960C8062B5D74E9BC7D6ABEC705475" ma:contentTypeVersion="9" ma:contentTypeDescription="Create a new document." ma:contentTypeScope="" ma:versionID="fef3a6eb2ece38c0c4e653f868eb6ab1">
  <xsd:schema xmlns:xsd="http://www.w3.org/2001/XMLSchema" xmlns:xs="http://www.w3.org/2001/XMLSchema" xmlns:p="http://schemas.microsoft.com/office/2006/metadata/properties" xmlns:ns2="124d8e52-d9ca-47b4-bf29-973d63851f75" targetNamespace="http://schemas.microsoft.com/office/2006/metadata/properties" ma:root="true" ma:fieldsID="054b58b7fcb725b42fc017fb89ca51b3" ns2:_="">
    <xsd:import namespace="124d8e52-d9ca-47b4-bf29-973d63851f7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4d8e52-d9ca-47b4-bf29-973d63851f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92F6D62-0400-4B1D-A006-CDD748044F19}"/>
</file>

<file path=customXml/itemProps2.xml><?xml version="1.0" encoding="utf-8"?>
<ds:datastoreItem xmlns:ds="http://schemas.openxmlformats.org/officeDocument/2006/customXml" ds:itemID="{39BD3B87-015D-4D86-B842-D99CDE4CD41B}"/>
</file>

<file path=customXml/itemProps3.xml><?xml version="1.0" encoding="utf-8"?>
<ds:datastoreItem xmlns:ds="http://schemas.openxmlformats.org/officeDocument/2006/customXml" ds:itemID="{531AEFDD-46FE-4121-997A-68F0A5126F3A}"/>
</file>

<file path=docProps/app.xml><?xml version="1.0" encoding="utf-8"?>
<Properties xmlns="http://schemas.openxmlformats.org/officeDocument/2006/extended-properties" xmlns:vt="http://schemas.openxmlformats.org/officeDocument/2006/docPropsVTypes">
  <Template/>
  <TotalTime>0</TotalTime>
  <Words>2108</Words>
  <Application>Microsoft Office PowerPoint</Application>
  <PresentationFormat>Widescreen</PresentationFormat>
  <Paragraphs>222</Paragraphs>
  <Slides>24</Slides>
  <Notes>14</Notes>
  <HiddenSlides>1</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ariant>
        <vt:lpstr>Custom Shows</vt:lpstr>
      </vt:variant>
      <vt:variant>
        <vt:i4>1</vt:i4>
      </vt:variant>
    </vt:vector>
  </HeadingPairs>
  <TitlesOfParts>
    <vt:vector size="31" baseType="lpstr">
      <vt:lpstr>Arial</vt:lpstr>
      <vt:lpstr>Henderson BCG Sans</vt:lpstr>
      <vt:lpstr>Symbol</vt:lpstr>
      <vt:lpstr>Trebuchet MS</vt:lpstr>
      <vt:lpstr>Nice Grid 16:9</vt:lpstr>
      <vt:lpstr>think-cell Slide</vt:lpstr>
      <vt:lpstr>Common Challenges IU 4.6 Machine Learning</vt:lpstr>
      <vt:lpstr>PowerPoint Presentation</vt:lpstr>
      <vt:lpstr>Where are we in the learning journey?</vt:lpstr>
      <vt:lpstr>Learning objectives</vt:lpstr>
      <vt:lpstr>Introduction to case study</vt:lpstr>
      <vt:lpstr>Australian metal and mining corporation</vt:lpstr>
      <vt:lpstr>PowerPoint Presentation</vt:lpstr>
      <vt:lpstr>Business Objectives</vt:lpstr>
      <vt:lpstr>Analytics Objectives</vt:lpstr>
      <vt:lpstr>Pop Quiz  Based on the case study discussed, answer multiple-choice questions applying the concepts you have learnt so far in the training</vt:lpstr>
      <vt:lpstr>Pop Quiz Question 1</vt:lpstr>
      <vt:lpstr>Pop Quiz Question 2</vt:lpstr>
      <vt:lpstr>Pop Quiz Question 3</vt:lpstr>
      <vt:lpstr>Pop Quiz Question 4</vt:lpstr>
      <vt:lpstr>Pop Quiz Question 5</vt:lpstr>
      <vt:lpstr>What did client do to overcome these challenges?</vt:lpstr>
      <vt:lpstr>Sentosa  Based on the capstone problem on Sentosa, answer multiple-choice questions applying the concepts you have learnt so far in the training</vt:lpstr>
      <vt:lpstr>Pop Quiz Question 1</vt:lpstr>
      <vt:lpstr>Pop Quiz Question 2</vt:lpstr>
      <vt:lpstr>Pop Quiz Question 3</vt:lpstr>
      <vt:lpstr>Key takeaways</vt:lpstr>
      <vt:lpstr>Key takeaways</vt:lpstr>
      <vt:lpstr>Group Activity using Miro</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Rajpurohit, Anantha</cp:lastModifiedBy>
  <cp:revision>575</cp:revision>
  <cp:lastPrinted>1999-12-31T16:00:00Z</cp:lastPrinted>
  <dcterms:created xsi:type="dcterms:W3CDTF">2021-03-31T04:29:52Z</dcterms:created>
  <dcterms:modified xsi:type="dcterms:W3CDTF">2021-09-07T09:4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2601277</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7-13T09:15:2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f6a99f7e-9e73-4930-8780-bdc6982711cd</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ContentTypeId">
    <vt:lpwstr>0x01010051960C8062B5D74E9BC7D6ABEC705475</vt:lpwstr>
  </property>
</Properties>
</file>